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ti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5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8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11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2.xml" ContentType="application/vnd.openxmlformats-officedocument.theme+xml"/>
  <Override PartName="/ppt/tags/tag3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1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4.xml" ContentType="application/vnd.openxmlformats-officedocument.theme+xml"/>
  <Override PartName="/ppt/tags/tag6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5.xml" ContentType="application/vnd.openxmlformats-officedocument.theme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slideLayouts/slideLayout68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6" r:id="rId1"/>
    <p:sldMasterId id="2147483769" r:id="rId2"/>
    <p:sldMasterId id="2147483772" r:id="rId3"/>
    <p:sldMasterId id="2147483794" r:id="rId4"/>
    <p:sldMasterId id="2147483803" r:id="rId5"/>
    <p:sldMasterId id="2147483811" r:id="rId6"/>
    <p:sldMasterId id="2147483780" r:id="rId7"/>
    <p:sldMasterId id="2147483831" r:id="rId8"/>
    <p:sldMasterId id="2147483845" r:id="rId9"/>
    <p:sldMasterId id="2147483854" r:id="rId10"/>
    <p:sldMasterId id="2147483861" r:id="rId11"/>
    <p:sldMasterId id="2147483873" r:id="rId12"/>
    <p:sldMasterId id="2147483880" r:id="rId13"/>
    <p:sldMasterId id="2147483884" r:id="rId14"/>
    <p:sldMasterId id="2147483891" r:id="rId15"/>
    <p:sldMasterId id="2147483898" r:id="rId16"/>
    <p:sldMasterId id="2147483900" r:id="rId17"/>
    <p:sldMasterId id="2147483901" r:id="rId18"/>
  </p:sldMasterIdLst>
  <p:notesMasterIdLst>
    <p:notesMasterId r:id="rId38"/>
  </p:notesMasterIdLst>
  <p:handoutMasterIdLst>
    <p:handoutMasterId r:id="rId39"/>
  </p:handoutMasterIdLst>
  <p:sldIdLst>
    <p:sldId id="264" r:id="rId19"/>
    <p:sldId id="518" r:id="rId20"/>
    <p:sldId id="869" r:id="rId21"/>
    <p:sldId id="877" r:id="rId22"/>
    <p:sldId id="940" r:id="rId23"/>
    <p:sldId id="878" r:id="rId24"/>
    <p:sldId id="876" r:id="rId25"/>
    <p:sldId id="871" r:id="rId26"/>
    <p:sldId id="872" r:id="rId27"/>
    <p:sldId id="272" r:id="rId28"/>
    <p:sldId id="299" r:id="rId29"/>
    <p:sldId id="516" r:id="rId30"/>
    <p:sldId id="274" r:id="rId31"/>
    <p:sldId id="880" r:id="rId32"/>
    <p:sldId id="881" r:id="rId33"/>
    <p:sldId id="511" r:id="rId34"/>
    <p:sldId id="882" r:id="rId35"/>
    <p:sldId id="514" r:id="rId36"/>
    <p:sldId id="941" r:id="rId37"/>
  </p:sldIdLst>
  <p:sldSz cx="9144000" cy="514826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61" userDrawn="1">
          <p15:clr>
            <a:srgbClr val="A4A3A4"/>
          </p15:clr>
        </p15:guide>
        <p15:guide id="2" pos="340" userDrawn="1">
          <p15:clr>
            <a:srgbClr val="A4A3A4"/>
          </p15:clr>
        </p15:guide>
        <p15:guide id="3" orient="horz" pos="3028" userDrawn="1">
          <p15:clr>
            <a:srgbClr val="A4A3A4"/>
          </p15:clr>
        </p15:guide>
        <p15:guide id="4" pos="5511" userDrawn="1">
          <p15:clr>
            <a:srgbClr val="A4A3A4"/>
          </p15:clr>
        </p15:guide>
        <p15:guide id="5" orient="horz" pos="272">
          <p15:clr>
            <a:srgbClr val="A4A3A4"/>
          </p15:clr>
        </p15:guide>
        <p15:guide id="6" orient="horz" pos="2971">
          <p15:clr>
            <a:srgbClr val="A4A3A4"/>
          </p15:clr>
        </p15:guide>
        <p15:guide id="7" orient="horz" pos="930">
          <p15:clr>
            <a:srgbClr val="A4A3A4"/>
          </p15:clr>
        </p15:guide>
        <p15:guide id="8" orient="horz" pos="1337">
          <p15:clr>
            <a:srgbClr val="A4A3A4"/>
          </p15:clr>
        </p15:guide>
        <p15:guide id="9" orient="horz" pos="2086">
          <p15:clr>
            <a:srgbClr val="A4A3A4"/>
          </p15:clr>
        </p15:guide>
        <p15:guide id="10" pos="2331">
          <p15:clr>
            <a:srgbClr val="A4A3A4"/>
          </p15:clr>
        </p15:guide>
        <p15:guide id="11" pos="726">
          <p15:clr>
            <a:srgbClr val="A4A3A4"/>
          </p15:clr>
        </p15:guide>
        <p15:guide id="12" pos="875">
          <p15:clr>
            <a:srgbClr val="A4A3A4"/>
          </p15:clr>
        </p15:guide>
        <p15:guide id="13" pos="1260">
          <p15:clr>
            <a:srgbClr val="A4A3A4"/>
          </p15:clr>
        </p15:guide>
        <p15:guide id="14" pos="1410">
          <p15:clr>
            <a:srgbClr val="A4A3A4"/>
          </p15:clr>
        </p15:guide>
        <p15:guide id="15" pos="1796">
          <p15:clr>
            <a:srgbClr val="A4A3A4"/>
          </p15:clr>
        </p15:guide>
        <p15:guide id="16" pos="1944">
          <p15:clr>
            <a:srgbClr val="A4A3A4"/>
          </p15:clr>
        </p15:guide>
        <p15:guide id="17" pos="2481">
          <p15:clr>
            <a:srgbClr val="A4A3A4"/>
          </p15:clr>
        </p15:guide>
        <p15:guide id="18" pos="2869">
          <p15:clr>
            <a:srgbClr val="A4A3A4"/>
          </p15:clr>
        </p15:guide>
        <p15:guide id="19" pos="3029">
          <p15:clr>
            <a:srgbClr val="A4A3A4"/>
          </p15:clr>
        </p15:guide>
        <p15:guide id="20" pos="3402">
          <p15:clr>
            <a:srgbClr val="A4A3A4"/>
          </p15:clr>
        </p15:guide>
        <p15:guide id="21" pos="3552">
          <p15:clr>
            <a:srgbClr val="A4A3A4"/>
          </p15:clr>
        </p15:guide>
        <p15:guide id="22" pos="3938">
          <p15:clr>
            <a:srgbClr val="A4A3A4"/>
          </p15:clr>
        </p15:guide>
        <p15:guide id="23" pos="4086">
          <p15:clr>
            <a:srgbClr val="A4A3A4"/>
          </p15:clr>
        </p15:guide>
        <p15:guide id="24" pos="4473">
          <p15:clr>
            <a:srgbClr val="A4A3A4"/>
          </p15:clr>
        </p15:guide>
        <p15:guide id="25" pos="4621">
          <p15:clr>
            <a:srgbClr val="A4A3A4"/>
          </p15:clr>
        </p15:guide>
        <p15:guide id="26" pos="5008">
          <p15:clr>
            <a:srgbClr val="A4A3A4"/>
          </p15:clr>
        </p15:guide>
        <p15:guide id="27" pos="5157">
          <p15:clr>
            <a:srgbClr val="A4A3A4"/>
          </p15:clr>
        </p15:guide>
        <p15:guide id="28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2121"/>
    <a:srgbClr val="CEFCC8"/>
    <a:srgbClr val="FFCCCC"/>
    <a:srgbClr val="333333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5662" autoAdjust="0"/>
    <p:restoredTop sz="86419" autoAdjust="0"/>
  </p:normalViewPr>
  <p:slideViewPr>
    <p:cSldViewPr snapToGrid="0">
      <p:cViewPr>
        <p:scale>
          <a:sx n="164" d="100"/>
          <a:sy n="164" d="100"/>
        </p:scale>
        <p:origin x="-114" y="-72"/>
      </p:cViewPr>
      <p:guideLst>
        <p:guide orient="horz" pos="261"/>
        <p:guide orient="horz" pos="3028"/>
        <p:guide orient="horz" pos="272"/>
        <p:guide orient="horz" pos="2971"/>
        <p:guide orient="horz" pos="930"/>
        <p:guide orient="horz" pos="1337"/>
        <p:guide orient="horz" pos="2086"/>
        <p:guide pos="340"/>
        <p:guide pos="5511"/>
        <p:guide pos="2331"/>
        <p:guide pos="726"/>
        <p:guide pos="875"/>
        <p:guide pos="1260"/>
        <p:guide pos="1410"/>
        <p:guide pos="1796"/>
        <p:guide pos="1944"/>
        <p:guide pos="2481"/>
        <p:guide pos="2869"/>
        <p:guide pos="3029"/>
        <p:guide pos="3402"/>
        <p:guide pos="3552"/>
        <p:guide pos="3938"/>
        <p:guide pos="4086"/>
        <p:guide pos="4473"/>
        <p:guide pos="4621"/>
        <p:guide pos="5008"/>
        <p:guide pos="5157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72" d="100"/>
          <a:sy n="172" d="100"/>
        </p:scale>
        <p:origin x="6552" y="208"/>
      </p:cViewPr>
      <p:guideLst>
        <p:guide orient="horz" pos="2880"/>
        <p:guide pos="2160"/>
      </p:guideLst>
    </p:cSldViewPr>
  </p:notesViewPr>
  <p:gridSpacing cx="1080136" cy="1080136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9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slide" Target="slides/slide19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&#1050;&#1085;&#1080;&#1075;&#1072;1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baseline="0">
                <a:solidFill>
                  <a:schemeClr val="accent1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800">
                <a:latin typeface="Arial" panose="020B0604020202020204" pitchFamily="34" charset="0"/>
                <a:cs typeface="Arial" panose="020B0604020202020204" pitchFamily="34" charset="0"/>
              </a:rPr>
              <a:t>Эффективный регион на 360°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8074860153240333"/>
          <c:y val="0.20282468614598378"/>
          <c:w val="0.38510939430281727"/>
          <c:h val="0.60888917747877869"/>
        </c:manualLayout>
      </c:layout>
      <c:pieChart>
        <c:varyColors val="0"/>
        <c:ser>
          <c:idx val="0"/>
          <c:order val="0"/>
          <c:spPr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rgbClr val="9900FF"/>
              </a:solidFill>
            </a:ln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CFC8-40AA-9E20-918995AE3C3E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CFC8-40AA-9E20-918995AE3C3E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CFC8-40AA-9E20-918995AE3C3E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CFC8-40AA-9E20-918995AE3C3E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CFC8-40AA-9E20-918995AE3C3E}"/>
              </c:ext>
            </c:extLst>
          </c:dPt>
          <c:dPt>
            <c:idx val="5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CFC8-40AA-9E20-918995AE3C3E}"/>
              </c:ext>
            </c:extLst>
          </c:dPt>
          <c:dPt>
            <c:idx val="6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D-CFC8-40AA-9E20-918995AE3C3E}"/>
              </c:ext>
            </c:extLst>
          </c:dPt>
          <c:dPt>
            <c:idx val="7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F-CFC8-40AA-9E20-918995AE3C3E}"/>
              </c:ext>
            </c:extLst>
          </c:dPt>
          <c:dPt>
            <c:idx val="8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1-CFC8-40AA-9E20-918995AE3C3E}"/>
              </c:ext>
            </c:extLst>
          </c:dPt>
          <c:dPt>
            <c:idx val="9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3-CFC8-40AA-9E20-918995AE3C3E}"/>
              </c:ext>
            </c:extLst>
          </c:dPt>
          <c:dPt>
            <c:idx val="1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5-CFC8-40AA-9E20-918995AE3C3E}"/>
              </c:ext>
            </c:extLst>
          </c:dPt>
          <c:dPt>
            <c:idx val="1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7-CFC8-40AA-9E20-918995AE3C3E}"/>
              </c:ext>
            </c:extLst>
          </c:dPt>
          <c:dPt>
            <c:idx val="1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9-CFC8-40AA-9E20-918995AE3C3E}"/>
              </c:ext>
            </c:extLst>
          </c:dPt>
          <c:dPt>
            <c:idx val="1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B-CFC8-40AA-9E20-918995AE3C3E}"/>
              </c:ext>
            </c:extLst>
          </c:dPt>
          <c:dPt>
            <c:idx val="1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C-CFC8-40AA-9E20-918995AE3C3E}"/>
              </c:ext>
            </c:extLst>
          </c:dPt>
          <c:dPt>
            <c:idx val="15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D-CFC8-40AA-9E20-918995AE3C3E}"/>
              </c:ext>
            </c:extLst>
          </c:dPt>
          <c:dPt>
            <c:idx val="16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E-CFC8-40AA-9E20-918995AE3C3E}"/>
              </c:ext>
            </c:extLst>
          </c:dPt>
          <c:dPt>
            <c:idx val="17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F-CFC8-40AA-9E20-918995AE3C3E}"/>
              </c:ext>
            </c:extLst>
          </c:dPt>
          <c:dPt>
            <c:idx val="18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0-CFC8-40AA-9E20-918995AE3C3E}"/>
              </c:ext>
            </c:extLst>
          </c:dPt>
          <c:dPt>
            <c:idx val="19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1-CFC8-40AA-9E20-918995AE3C3E}"/>
              </c:ext>
            </c:extLst>
          </c:dPt>
          <c:dPt>
            <c:idx val="2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2-CFC8-40AA-9E20-918995AE3C3E}"/>
              </c:ext>
            </c:extLst>
          </c:dPt>
          <c:dPt>
            <c:idx val="2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3-CFC8-40AA-9E20-918995AE3C3E}"/>
              </c:ext>
            </c:extLst>
          </c:dPt>
          <c:dPt>
            <c:idx val="2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4-CFC8-40AA-9E20-918995AE3C3E}"/>
              </c:ext>
            </c:extLst>
          </c:dPt>
          <c:dPt>
            <c:idx val="2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5-CFC8-40AA-9E20-918995AE3C3E}"/>
              </c:ext>
            </c:extLst>
          </c:dPt>
          <c:dPt>
            <c:idx val="2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6-CFC8-40AA-9E20-918995AE3C3E}"/>
              </c:ext>
            </c:extLst>
          </c:dPt>
          <c:dLbls>
            <c:dLbl>
              <c:idx val="0"/>
              <c:layout>
                <c:manualLayout>
                  <c:x val="-7.921057204470161E-2"/>
                  <c:y val="-6.91178832982521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7169597490117432"/>
                      <c:h val="6.764000696619294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FC8-40AA-9E20-918995AE3C3E}"/>
                </c:ext>
              </c:extLst>
            </c:dLbl>
            <c:dLbl>
              <c:idx val="1"/>
              <c:layout>
                <c:manualLayout>
                  <c:x val="5.7282334251559895E-2"/>
                  <c:y val="-1.6683581704134996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FC8-40AA-9E20-918995AE3C3E}"/>
                </c:ext>
              </c:extLst>
            </c:dLbl>
            <c:dLbl>
              <c:idx val="2"/>
              <c:layout>
                <c:manualLayout>
                  <c:x val="0.12360924759547134"/>
                  <c:y val="-2.8600425778517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FC8-40AA-9E20-918995AE3C3E}"/>
                </c:ext>
              </c:extLst>
            </c:dLbl>
            <c:dLbl>
              <c:idx val="3"/>
              <c:layout>
                <c:manualLayout>
                  <c:x val="4.3715465613032439E-2"/>
                  <c:y val="-9.5334752595057012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FC8-40AA-9E20-918995AE3C3E}"/>
                </c:ext>
              </c:extLst>
            </c:dLbl>
            <c:dLbl>
              <c:idx val="4"/>
              <c:layout>
                <c:manualLayout>
                  <c:x val="6.7834402540268554E-2"/>
                  <c:y val="1.43002128892585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9322525417403761"/>
                      <c:h val="0.1057739080042157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CFC8-40AA-9E20-918995AE3C3E}"/>
                </c:ext>
              </c:extLst>
            </c:dLbl>
            <c:dLbl>
              <c:idx val="5"/>
              <c:layout>
                <c:manualLayout>
                  <c:x val="1.8089158184703125E-2"/>
                  <c:y val="2.3833688148763377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FC8-40AA-9E20-918995AE3C3E}"/>
                </c:ext>
              </c:extLst>
            </c:dLbl>
            <c:dLbl>
              <c:idx val="6"/>
              <c:layout>
                <c:manualLayout>
                  <c:x val="5.878976410028515E-2"/>
                  <c:y val="0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5005246330654618"/>
                      <c:h val="0.105857419746154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CFC8-40AA-9E20-918995AE3C3E}"/>
                </c:ext>
              </c:extLst>
            </c:dLbl>
            <c:dLbl>
              <c:idx val="7"/>
              <c:layout>
                <c:manualLayout>
                  <c:x val="5.2006329781021342E-2"/>
                  <c:y val="-4.7667376297529374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5063276445067351"/>
                      <c:h val="0.105857419746154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F-CFC8-40AA-9E20-918995AE3C3E}"/>
                </c:ext>
              </c:extLst>
            </c:dLbl>
            <c:dLbl>
              <c:idx val="8"/>
              <c:layout>
                <c:manualLayout>
                  <c:x val="1.2059438789802084E-2"/>
                  <c:y val="2.3833688148763377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CFC8-40AA-9E20-918995AE3C3E}"/>
                </c:ext>
              </c:extLst>
            </c:dLbl>
            <c:dLbl>
              <c:idx val="9"/>
              <c:layout>
                <c:manualLayout>
                  <c:x val="1.5074298487251499E-3"/>
                  <c:y val="-2.1450319333887826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CFC8-40AA-9E20-918995AE3C3E}"/>
                </c:ext>
              </c:extLst>
            </c:dLbl>
            <c:dLbl>
              <c:idx val="10"/>
              <c:layout>
                <c:manualLayout>
                  <c:x val="0.1025052297133177"/>
                  <c:y val="1.191684407438195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CFC8-40AA-9E20-918995AE3C3E}"/>
                </c:ext>
              </c:extLst>
            </c:dLbl>
            <c:dLbl>
              <c:idx val="11"/>
              <c:layout>
                <c:manualLayout>
                  <c:x val="5.2760044705384111E-2"/>
                  <c:y val="6.4350958001663308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8574550595992659"/>
                      <c:h val="0.105857419746154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7-CFC8-40AA-9E20-918995AE3C3E}"/>
                </c:ext>
              </c:extLst>
            </c:dLbl>
            <c:dLbl>
              <c:idx val="12"/>
              <c:layout>
                <c:manualLayout>
                  <c:x val="3.4307769769210982E-3"/>
                  <c:y val="7.7403025178034726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1051993202751736"/>
                      <c:h val="9.870586829430874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9-CFC8-40AA-9E20-918995AE3C3E}"/>
                </c:ext>
              </c:extLst>
            </c:dLbl>
            <c:dLbl>
              <c:idx val="13"/>
              <c:layout>
                <c:manualLayout>
                  <c:x val="-7.9956771525987735E-2"/>
                  <c:y val="4.7761022570071837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6873711562912755"/>
                      <c:h val="0.138295069316622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B-CFC8-40AA-9E20-918995AE3C3E}"/>
                </c:ext>
              </c:extLst>
            </c:dLbl>
            <c:dLbl>
              <c:idx val="14"/>
              <c:layout>
                <c:manualLayout>
                  <c:x val="1.5074298487252604E-3"/>
                  <c:y val="3.813390103802280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CFC8-40AA-9E20-918995AE3C3E}"/>
                </c:ext>
              </c:extLst>
            </c:dLbl>
            <c:dLbl>
              <c:idx val="15"/>
              <c:layout>
                <c:manualLayout>
                  <c:x val="-7.3864062587537777E-2"/>
                  <c:y val="5.72008515570342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CFC8-40AA-9E20-918995AE3C3E}"/>
                </c:ext>
              </c:extLst>
            </c:dLbl>
            <c:dLbl>
              <c:idx val="16"/>
              <c:layout>
                <c:manualLayout>
                  <c:x val="-2.1560705939656637E-2"/>
                  <c:y val="4.2787874002088708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3647811686640707"/>
                      <c:h val="0.105857419746154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E-CFC8-40AA-9E20-918995AE3C3E}"/>
                </c:ext>
              </c:extLst>
            </c:dLbl>
            <c:dLbl>
              <c:idx val="18"/>
              <c:layout>
                <c:manualLayout>
                  <c:x val="1.1892220014849591E-2"/>
                  <c:y val="-2.3833688148764253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5511184629389433"/>
                      <c:h val="0.105857419746154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20-CFC8-40AA-9E20-918995AE3C3E}"/>
                </c:ext>
              </c:extLst>
            </c:dLbl>
            <c:dLbl>
              <c:idx val="19"/>
              <c:layout>
                <c:manualLayout>
                  <c:x val="6.7566581473028962E-4"/>
                  <c:y val="-1.7875266111573189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9410560818588632"/>
                      <c:h val="0.1073351084113777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21-CFC8-40AA-9E20-918995AE3C3E}"/>
                </c:ext>
              </c:extLst>
            </c:dLbl>
            <c:dLbl>
              <c:idx val="20"/>
              <c:layout>
                <c:manualLayout>
                  <c:x val="-6.7084174780129277E-2"/>
                  <c:y val="-2.145031933388787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CFC8-40AA-9E20-918995AE3C3E}"/>
                </c:ext>
              </c:extLst>
            </c:dLbl>
            <c:dLbl>
              <c:idx val="21"/>
              <c:layout>
                <c:manualLayout>
                  <c:x val="-1.507429848725263E-2"/>
                  <c:y val="-1.906695051901144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CFC8-40AA-9E20-918995AE3C3E}"/>
                </c:ext>
              </c:extLst>
            </c:dLbl>
            <c:dLbl>
              <c:idx val="22"/>
              <c:layout>
                <c:manualLayout>
                  <c:x val="-1.658172833597792E-2"/>
                  <c:y val="-1.43002128892585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CFC8-40AA-9E20-918995AE3C3E}"/>
                </c:ext>
              </c:extLst>
            </c:dLbl>
            <c:dLbl>
              <c:idx val="23"/>
              <c:layout>
                <c:manualLayout>
                  <c:x val="-1.3566868638527343E-2"/>
                  <c:y val="-1.6683581704134996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CFC8-40AA-9E20-918995AE3C3E}"/>
                </c:ext>
              </c:extLst>
            </c:dLbl>
            <c:dLbl>
              <c:idx val="24"/>
              <c:layout>
                <c:manualLayout>
                  <c:x val="-1.8089158184703181E-2"/>
                  <c:y val="-2.383368814876427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CFC8-40AA-9E20-918995AE3C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spc="0" baseline="0">
                    <a:solidFill>
                      <a:schemeClr val="accent1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B$2:$B$26</c:f>
              <c:strCache>
                <c:ptCount val="25"/>
                <c:pt idx="0">
                  <c:v>Государственное управление (администрация региона и районов)</c:v>
                </c:pt>
                <c:pt idx="1">
                  <c:v>ЖКХ, обращение с ТКО</c:v>
                </c:pt>
                <c:pt idx="2">
                  <c:v>Здравоохранение</c:v>
                </c:pt>
                <c:pt idx="3">
                  <c:v>Многофункциональные центры</c:v>
                </c:pt>
                <c:pt idx="4">
                  <c:v>Муниципальное управление и муниципальные образования</c:v>
                </c:pt>
                <c:pt idx="5">
                  <c:v>Промышленность всех видов</c:v>
                </c:pt>
                <c:pt idx="6">
                  <c:v>Высшее и среднее специальное образование</c:v>
                </c:pt>
                <c:pt idx="7">
                  <c:v>Образование (от детского сада до школы)</c:v>
                </c:pt>
                <c:pt idx="8">
                  <c:v>Сельское хозяйство</c:v>
                </c:pt>
                <c:pt idx="9">
                  <c:v>Службы занятости населения</c:v>
                </c:pt>
                <c:pt idx="10">
                  <c:v>Социальная сфера, Культура, Спорт</c:v>
                </c:pt>
                <c:pt idx="11">
                  <c:v>Строительство жилищное и объектов СКБ</c:v>
                </c:pt>
                <c:pt idx="12">
                  <c:v>Строительство прочее</c:v>
                </c:pt>
                <c:pt idx="13">
                  <c:v>Транспорт муниципальный и содержание муниципальных дорог</c:v>
                </c:pt>
                <c:pt idx="14">
                  <c:v>Аэропорты</c:v>
                </c:pt>
                <c:pt idx="15">
                  <c:v>Вокзалы (РЖД)</c:v>
                </c:pt>
                <c:pt idx="16">
                  <c:v>Дорожное строительство и содержание дорог</c:v>
                </c:pt>
                <c:pt idx="17">
                  <c:v>Интеграция производственных систем всех крупных ВИК, работающих на территории региона</c:v>
                </c:pt>
                <c:pt idx="18">
                  <c:v>МВД (все направления деятельности)</c:v>
                </c:pt>
                <c:pt idx="19">
                  <c:v>МО (военкоматы, инфраструктура, содержание в/ч)</c:v>
                </c:pt>
                <c:pt idx="20">
                  <c:v>Порты и  вокзалы (морские и речные)</c:v>
                </c:pt>
                <c:pt idx="21">
                  <c:v>Почта России</c:v>
                </c:pt>
                <c:pt idx="22">
                  <c:v>ПФ РФ</c:v>
                </c:pt>
                <c:pt idx="23">
                  <c:v>ФНС</c:v>
                </c:pt>
                <c:pt idx="24">
                  <c:v>ФСИН</c:v>
                </c:pt>
              </c:strCache>
            </c:strRef>
          </c:cat>
          <c:val>
            <c:numRef>
              <c:f>Лист1!$C$2:$C$26</c:f>
              <c:numCache>
                <c:formatCode>General</c:formatCode>
                <c:ptCount val="2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7-CFC8-40AA-9E20-918995AE3C3E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 b="1">
          <a:solidFill>
            <a:schemeClr val="accent1">
              <a:lumMod val="10000"/>
            </a:schemeClr>
          </a:solidFill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3076953581842105E-2"/>
          <c:y val="0"/>
          <c:w val="0.94692309828822441"/>
          <c:h val="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F37D07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CBE-4DFB-A7E5-BC8D539CCD3D}"/>
              </c:ext>
            </c:extLst>
          </c:dPt>
          <c:dLbls>
            <c:dLbl>
              <c:idx val="0"/>
              <c:layout>
                <c:manualLayout>
                  <c:x val="2.3659909541676434E-3"/>
                  <c:y val="2.66997877155069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3195894936991551"/>
                      <c:h val="0.2067001696366338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1CBE-4DFB-A7E5-BC8D539CCD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CBE-4DFB-A7E5-BC8D539CCD3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1CBE-4DFB-A7E5-BC8D539CCD3D}"/>
              </c:ext>
            </c:extLst>
          </c:dPt>
          <c:dLbls>
            <c:dLbl>
              <c:idx val="0"/>
              <c:layout>
                <c:manualLayout>
                  <c:x val="0"/>
                  <c:y val="-2.318870217216059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CBE-4DFB-A7E5-BC8D539CCD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CBE-4DFB-A7E5-BC8D539CCD3D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61942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D$2</c:f>
              <c:numCache>
                <c:formatCode>0</c:formatCode>
                <c:ptCount val="1"/>
                <c:pt idx="0">
                  <c:v>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1CBE-4DFB-A7E5-BC8D539CCD3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112753280"/>
        <c:axId val="112767360"/>
      </c:barChart>
      <c:catAx>
        <c:axId val="11275328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112767360"/>
        <c:crosses val="autoZero"/>
        <c:auto val="1"/>
        <c:lblAlgn val="ctr"/>
        <c:lblOffset val="100"/>
        <c:noMultiLvlLbl val="0"/>
      </c:catAx>
      <c:valAx>
        <c:axId val="112767360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11275328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image" Target="../media/image2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86DCCD-FB14-4FA8-B1C2-D065E82645DF}" type="datetimeFigureOut">
              <a:rPr lang="ru-RU" smtClean="0"/>
              <a:pPr/>
              <a:t>27.1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D96E1-DF61-4A53-9932-3DFD8899BB9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0548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84D8A-822D-488E-8D1C-8C90CBE022BE}" type="datetimeFigureOut">
              <a:rPr lang="ru-RU" smtClean="0"/>
              <a:pPr/>
              <a:t>27.1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4175" y="685800"/>
            <a:ext cx="60896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F70B7F-3432-4DBE-B821-B38A127FB2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92022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14741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4741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1843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9043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0B7F-3432-4DBE-B821-B38A127FB2D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9434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4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2122487"/>
            <a:ext cx="5711825" cy="1189037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3798267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>
                <a:latin typeface="Arial" pitchFamily="34" charset="0"/>
                <a:cs typeface="Arial" pitchFamily="34" charset="0"/>
              </a:rPr>
              <a:t>/</a:t>
            </a:r>
            <a:r>
              <a:rPr lang="ru-RU" dirty="0">
                <a:latin typeface="Arial" pitchFamily="34" charset="0"/>
                <a:cs typeface="Arial" pitchFamily="34" charset="0"/>
              </a:rPr>
              <a:t> название площадки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4212000"/>
            <a:ext cx="5711825" cy="218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4428000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870556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515179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2598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60327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7" y="1476375"/>
            <a:ext cx="3940175" cy="25078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en-US" sz="7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2458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39049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9487467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8788378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5373390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0999716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037263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9994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60016254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7600003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46524543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25531871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34830962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08568465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4109631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638225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048823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924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355364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27588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52578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1665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4245227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1095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2018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4340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053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4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6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7131267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C38206-4828-4678-B9C4-DF1DE1AE3D6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7790879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2013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47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4E09CB-8767-4EAD-A82E-60657922E6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81701233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5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8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E9D52D-F169-4A34-BDA4-9E63BEFE7F6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3932617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3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EA6B6B-F25B-48C7-9256-EE6F5072959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17368861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7EBB71-4F49-44D1-A64D-CB22C0BACF4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61849775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9315D6-AF35-40BB-BE32-39B8CB0D90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3939934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9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077324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C01A19-BFA0-43D7-AE86-7B169650F6D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64274680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F1BB8-2647-4425-8163-FBAACE9973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82761055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8BBEC1-99D1-41F5-9882-98BC85521A7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05065385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5" y="0"/>
            <a:ext cx="6167437" cy="4709707"/>
          </a:xfrm>
        </p:spPr>
        <p:txBody>
          <a:bodyPr vert="eaVert"/>
          <a:lstStyle>
            <a:lvl3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701FAC-AEF6-48D4-A4AF-8EA6B9C0A63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94588791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466515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8538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84989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4344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1073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4" y="1227"/>
          <a:ext cx="1619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4" y="1227"/>
                        <a:ext cx="1619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9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381813"/>
            <a:ext cx="2460610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9" y="502191"/>
            <a:ext cx="2164054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7" y="3777079"/>
            <a:ext cx="5036084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7" y="3982183"/>
            <a:ext cx="5036084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3" y="10"/>
            <a:ext cx="9140760" cy="5148263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47" tIns="34974" rIns="69947" bIns="34974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2" y="4935485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9" y="2384226"/>
            <a:ext cx="5036083" cy="377155"/>
          </a:xfrm>
          <a:prstGeom prst="rect">
            <a:avLst/>
          </a:prstGeom>
        </p:spPr>
        <p:txBody>
          <a:bodyPr/>
          <a:lstStyle>
            <a:lvl1pPr>
              <a:defRPr sz="2451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9" y="2962014"/>
            <a:ext cx="5036083" cy="165018"/>
          </a:xfrm>
        </p:spPr>
        <p:txBody>
          <a:bodyPr>
            <a:spAutoFit/>
          </a:bodyPr>
          <a:lstStyle>
            <a:lvl1pPr>
              <a:defRPr sz="1072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3466627"/>
            <a:ext cx="5850864" cy="1681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45922"/>
            <a:ext cx="9127802" cy="1412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0731" y="1590974"/>
            <a:ext cx="1255377" cy="67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14909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253106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568913" y="4830655"/>
            <a:ext cx="405772" cy="329943"/>
          </a:xfrm>
          <a:prstGeom prst="rect">
            <a:avLst/>
          </a:prstGeom>
        </p:spPr>
        <p:txBody>
          <a:bodyPr wrap="none" lIns="69955" tIns="34979" rIns="69955" bIns="34979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3F385F46-FE36-43E0-8AEF-AC9950742405}" type="slidenum">
              <a:rPr lang="ru-RU" sz="1685" smtClean="0">
                <a:solidFill>
                  <a:srgbClr val="003274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8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412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1" y="2039092"/>
            <a:ext cx="7772399" cy="22395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2917350"/>
            <a:ext cx="6400800" cy="18859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3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9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5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9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2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5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71678"/>
            <a:ext cx="2133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2" y="4771678"/>
            <a:ext cx="2895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71678"/>
            <a:ext cx="2133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A5DA0559-C6E3-43B3-8F32-AFFD152310A9}" type="slidenum">
              <a:rPr lang="ru-RU" sz="1226" smtClean="0">
                <a:solidFill>
                  <a:srgbClr val="000000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26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2023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597800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4467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9158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178194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15964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2399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665669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16360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14088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6875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6975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0011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476375"/>
            <a:ext cx="4860925" cy="1274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80"/>
              </a:lnSpc>
              <a:spcBef>
                <a:spcPts val="0"/>
              </a:spcBef>
              <a:buFontTx/>
              <a:buNone/>
              <a:defRPr sz="41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4488543"/>
            <a:ext cx="4860925" cy="22792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3537857"/>
            <a:ext cx="4860925" cy="9463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Основная информация</a:t>
            </a:r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308360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331152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1945694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539750" y="1476375"/>
            <a:ext cx="4014788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8" y="1476375"/>
            <a:ext cx="3940175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3482975"/>
            <a:ext cx="4014788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4808538" y="3479346"/>
            <a:ext cx="3940174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645409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539750" y="1476375"/>
            <a:ext cx="4014788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808539" y="1476375"/>
            <a:ext cx="3940174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4760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7209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5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37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36.xml"/><Relationship Id="rId9" Type="http://schemas.openxmlformats.org/officeDocument/2006/relationships/oleObject" Target="../embeddings/oleObject2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1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51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53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52.xml"/><Relationship Id="rId9" Type="http://schemas.openxmlformats.org/officeDocument/2006/relationships/oleObject" Target="../embeddings/oleObject3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5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ags" Target="../tags/tag4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4.png"/><Relationship Id="rId4" Type="http://schemas.openxmlformats.org/officeDocument/2006/relationships/theme" Target="../theme/theme13.xml"/><Relationship Id="rId9" Type="http://schemas.openxmlformats.org/officeDocument/2006/relationships/image" Target="../media/image13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59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60.xml"/><Relationship Id="rId9" Type="http://schemas.openxmlformats.org/officeDocument/2006/relationships/oleObject" Target="../embeddings/oleObject6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64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65.xml"/><Relationship Id="rId9" Type="http://schemas.openxmlformats.org/officeDocument/2006/relationships/oleObject" Target="../embeddings/oleObject7.bin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67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jpg"/><Relationship Id="rId1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theme" Target="../theme/theme18.xml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20.jpg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.pn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4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0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31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431800"/>
            <a:ext cx="816864" cy="10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1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41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9" r:id="rId4"/>
    <p:sldLayoutId id="2147483860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652" b="1">
                <a:solidFill>
                  <a:schemeClr val="hlink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>
              <a:defRPr/>
            </a:pPr>
            <a:fld id="{423304E7-F98D-46B0-87E0-874C0070AB71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текста</a:t>
            </a:r>
          </a:p>
          <a:p>
            <a:pPr lvl="1"/>
            <a:r>
              <a:rPr lang="ru-RU" altLang="ru-RU" dirty="0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99421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201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051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828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8" r:id="rId4"/>
    <p:sldLayoutId id="2147483879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68021" y="1486358"/>
            <a:ext cx="160941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22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64201" y="3151383"/>
            <a:ext cx="141705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22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253106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7" y="20671"/>
            <a:ext cx="655629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r>
              <a:rPr lang="ru-RU" sz="1072" dirty="0" smtClean="0">
                <a:solidFill>
                  <a:srgbClr val="808080"/>
                </a:solidFill>
              </a:rPr>
              <a:t>TRACKER</a:t>
            </a:r>
            <a:endParaRPr lang="ru-RU" sz="1072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1" y="710652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2556"/>
            <a:ext cx="872284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6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6"/>
            <a:ext cx="700257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66326" indent="-466326" defTabSz="684915" fontAlgn="base">
              <a:spcBef>
                <a:spcPct val="0"/>
              </a:spcBef>
              <a:spcAft>
                <a:spcPct val="0"/>
              </a:spcAft>
              <a:tabLst>
                <a:tab pos="468754" algn="l"/>
              </a:tabLst>
            </a:pPr>
            <a:r>
              <a:rPr lang="ru-RU" sz="766" dirty="0" smtClean="0">
                <a:solidFill>
                  <a:srgbClr val="000000"/>
                </a:solidFill>
              </a:rPr>
              <a:t>ИСТОЧНИК: источник</a:t>
            </a:r>
            <a:endParaRPr lang="ru-RU" sz="766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2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947" tIns="69947" rIns="69947" bIns="69947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947" tIns="69947" rIns="69947" bIns="69947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323" y="31869"/>
            <a:ext cx="905490" cy="60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89333"/>
            <a:ext cx="1022738" cy="551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0559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84915" rtl="0" eaLnBrk="1" fontAlgn="base" hangingPunct="1">
        <a:spcBef>
          <a:spcPct val="0"/>
        </a:spcBef>
        <a:spcAft>
          <a:spcPct val="0"/>
        </a:spcAft>
        <a:tabLst>
          <a:tab pos="273238" algn="l"/>
        </a:tabLst>
        <a:defRPr sz="145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2pPr>
      <a:lvl3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3pPr>
      <a:lvl4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4pPr>
      <a:lvl5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5pPr>
      <a:lvl6pPr marL="349740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6pPr>
      <a:lvl7pPr marL="699491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7pPr>
      <a:lvl8pPr marL="1049236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8pPr>
      <a:lvl9pPr marL="1398976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48156" indent="-146942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49740" indent="-200375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69971" indent="-119012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1pPr>
      <a:lvl2pPr marL="349740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2pPr>
      <a:lvl3pPr marL="699491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3pPr>
      <a:lvl4pPr marL="104923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4pPr>
      <a:lvl5pPr marL="139897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5pPr>
      <a:lvl6pPr marL="1748723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6pPr>
      <a:lvl7pPr marL="2098468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7pPr>
      <a:lvl8pPr marL="2448211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8pPr>
      <a:lvl9pPr marL="279795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610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9" r:id="rId4"/>
    <p:sldLayoutId id="2147483890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5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6" r:id="rId4"/>
    <p:sldLayoutId id="2147483897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40377" y="361207"/>
            <a:ext cx="725904" cy="329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2821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0" y="0"/>
            <a:ext cx="9138039" cy="5152838"/>
          </a:xfrm>
          <a:prstGeom prst="rect">
            <a:avLst/>
          </a:prstGeom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xmlns="" id="{BFCFDCD3-0E65-BD46-B70A-BD77913A52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38037" cy="5152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19082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0" y="0"/>
            <a:ext cx="9138039" cy="5152838"/>
          </a:xfrm>
          <a:prstGeom prst="rect">
            <a:avLst/>
          </a:prstGeom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xmlns="" id="{BFCFDCD3-0E65-BD46-B70A-BD77913A52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38037" cy="5152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544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7351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4" r:id="rId2"/>
    <p:sldLayoutId id="2147483829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23" r:id="rId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08" r:id="rId2"/>
    <p:sldLayoutId id="2147483827" r:id="rId3"/>
    <p:sldLayoutId id="2147483828" r:id="rId4"/>
    <p:sldLayoutId id="2147483830" r:id="rId5"/>
    <p:sldLayoutId id="2147483844" r:id="rId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25" r:id="rId2"/>
    <p:sldLayoutId id="2147483826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3320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6436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49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50" r:id="rId4"/>
    <p:sldLayoutId id="2147483852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tif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2.png"/><Relationship Id="rId5" Type="http://schemas.openxmlformats.org/officeDocument/2006/relationships/image" Target="../media/image71.jpeg"/><Relationship Id="rId4" Type="http://schemas.openxmlformats.org/officeDocument/2006/relationships/image" Target="../media/image7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8.jpeg"/><Relationship Id="rId5" Type="http://schemas.openxmlformats.org/officeDocument/2006/relationships/image" Target="../media/image77.jpeg"/><Relationship Id="rId4" Type="http://schemas.openxmlformats.org/officeDocument/2006/relationships/image" Target="../media/image76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80.png"/><Relationship Id="rId7" Type="http://schemas.openxmlformats.org/officeDocument/2006/relationships/image" Target="../media/image84.jpe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3.jpeg"/><Relationship Id="rId5" Type="http://schemas.openxmlformats.org/officeDocument/2006/relationships/image" Target="../media/image82.jpeg"/><Relationship Id="rId4" Type="http://schemas.openxmlformats.org/officeDocument/2006/relationships/image" Target="../media/image8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26" Type="http://schemas.openxmlformats.org/officeDocument/2006/relationships/image" Target="../media/image42.jpeg"/><Relationship Id="rId3" Type="http://schemas.openxmlformats.org/officeDocument/2006/relationships/image" Target="../media/image23.png"/><Relationship Id="rId21" Type="http://schemas.openxmlformats.org/officeDocument/2006/relationships/image" Target="../media/image39.jpeg"/><Relationship Id="rId7" Type="http://schemas.openxmlformats.org/officeDocument/2006/relationships/image" Target="../media/image25.jpeg"/><Relationship Id="rId12" Type="http://schemas.openxmlformats.org/officeDocument/2006/relationships/image" Target="../media/image30.gif"/><Relationship Id="rId17" Type="http://schemas.openxmlformats.org/officeDocument/2006/relationships/image" Target="../media/image35.png"/><Relationship Id="rId25" Type="http://schemas.openxmlformats.org/officeDocument/2006/relationships/image" Target="../media/image41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34.gif"/><Relationship Id="rId20" Type="http://schemas.openxmlformats.org/officeDocument/2006/relationships/image" Target="../media/image38.png"/><Relationship Id="rId29" Type="http://schemas.openxmlformats.org/officeDocument/2006/relationships/image" Target="../media/image45.jpeg"/><Relationship Id="rId1" Type="http://schemas.openxmlformats.org/officeDocument/2006/relationships/vmlDrawing" Target="../drawings/vmlDrawing8.vml"/><Relationship Id="rId6" Type="http://schemas.openxmlformats.org/officeDocument/2006/relationships/image" Target="../media/image24.png"/><Relationship Id="rId11" Type="http://schemas.openxmlformats.org/officeDocument/2006/relationships/image" Target="../media/image29.gif"/><Relationship Id="rId24" Type="http://schemas.openxmlformats.org/officeDocument/2006/relationships/image" Target="../media/image40.jpeg"/><Relationship Id="rId5" Type="http://schemas.openxmlformats.org/officeDocument/2006/relationships/image" Target="../media/image21.png"/><Relationship Id="rId15" Type="http://schemas.openxmlformats.org/officeDocument/2006/relationships/image" Target="../media/image33.png"/><Relationship Id="rId23" Type="http://schemas.openxmlformats.org/officeDocument/2006/relationships/image" Target="../media/image22.png"/><Relationship Id="rId28" Type="http://schemas.openxmlformats.org/officeDocument/2006/relationships/image" Target="../media/image44.gif"/><Relationship Id="rId10" Type="http://schemas.openxmlformats.org/officeDocument/2006/relationships/image" Target="../media/image28.jpeg"/><Relationship Id="rId19" Type="http://schemas.openxmlformats.org/officeDocument/2006/relationships/image" Target="../media/image37.gif"/><Relationship Id="rId4" Type="http://schemas.openxmlformats.org/officeDocument/2006/relationships/oleObject" Target="../embeddings/oleObject8.bin"/><Relationship Id="rId9" Type="http://schemas.openxmlformats.org/officeDocument/2006/relationships/image" Target="../media/image27.png"/><Relationship Id="rId14" Type="http://schemas.openxmlformats.org/officeDocument/2006/relationships/image" Target="../media/image32.gif"/><Relationship Id="rId22" Type="http://schemas.openxmlformats.org/officeDocument/2006/relationships/oleObject" Target="../embeddings/oleObject9.bin"/><Relationship Id="rId27" Type="http://schemas.openxmlformats.org/officeDocument/2006/relationships/image" Target="../media/image43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0.jpeg"/><Relationship Id="rId5" Type="http://schemas.openxmlformats.org/officeDocument/2006/relationships/image" Target="../media/image49.jpg"/><Relationship Id="rId4" Type="http://schemas.openxmlformats.org/officeDocument/2006/relationships/image" Target="../media/image4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wmf"/><Relationship Id="rId2" Type="http://schemas.openxmlformats.org/officeDocument/2006/relationships/image" Target="../media/image60.wmf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63.jpeg"/><Relationship Id="rId4" Type="http://schemas.openxmlformats.org/officeDocument/2006/relationships/image" Target="../media/image6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645627" y="2349383"/>
            <a:ext cx="6969089" cy="975612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ru-RU" sz="2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ограмма «Эффективный регион</a:t>
            </a:r>
            <a:r>
              <a:rPr lang="ru-RU" sz="2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sz="2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Текст 4"/>
          <p:cNvSpPr>
            <a:spLocks noGrp="1"/>
          </p:cNvSpPr>
          <p:nvPr>
            <p:ph type="body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О «ПСР»</a:t>
            </a:r>
            <a:r>
              <a:rPr lang="en-US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Госкорпорация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«Росатом»</a:t>
            </a: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Дорофеев Евгений Викторович</a:t>
            </a:r>
          </a:p>
        </p:txBody>
      </p:sp>
    </p:spTree>
    <p:extLst>
      <p:ext uri="{BB962C8B-B14F-4D97-AF65-F5344CB8AC3E}">
        <p14:creationId xmlns:p14="http://schemas.microsoft.com/office/powerpoint/2010/main" val="1214510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xmlns="" id="{C90612C4-BC28-426D-9A84-6825481A3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794" y="224395"/>
            <a:ext cx="7818322" cy="690877"/>
          </a:xfrm>
        </p:spPr>
        <p:txBody>
          <a:bodyPr/>
          <a:lstStyle/>
          <a:p>
            <a:r>
              <a:rPr lang="ru-RU" sz="1800" dirty="0"/>
              <a:t>2007-</a:t>
            </a:r>
            <a:r>
              <a:rPr lang="ru-RU" altLang="ru-RU" sz="1800" dirty="0"/>
              <a:t>2019 гг. ГК «Росатом» за 12 лет накоплен уникальный опыт применения бережливости в различных отраслях производства – более 10 000 проектов и более 100 000 предложений по улучшениям </a:t>
            </a:r>
            <a:endParaRPr lang="ru-RU" sz="1800" dirty="0"/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1912" y="1117601"/>
            <a:ext cx="7249228" cy="381166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9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95566" y="4896506"/>
            <a:ext cx="1061509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От поликлиник к ЭР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Стрелка вниз 5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544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38541" y="380721"/>
            <a:ext cx="6795293" cy="330200"/>
          </a:xfrm>
        </p:spPr>
        <p:txBody>
          <a:bodyPr/>
          <a:lstStyle/>
          <a:p>
            <a:r>
              <a:rPr lang="ru-RU" sz="1600" dirty="0"/>
              <a:t>Бережливая поликлиника → Эффективный регион</a:t>
            </a:r>
          </a:p>
        </p:txBody>
      </p:sp>
      <p:sp>
        <p:nvSpPr>
          <p:cNvPr id="30" name="Стрелка вправо 33">
            <a:extLst>
              <a:ext uri="{FF2B5EF4-FFF2-40B4-BE49-F238E27FC236}">
                <a16:creationId xmlns:a16="http://schemas.microsoft.com/office/drawing/2014/main" xmlns="" id="{8F287B10-0FC0-40B5-ACCC-FB31275A9C96}"/>
              </a:ext>
            </a:extLst>
          </p:cNvPr>
          <p:cNvSpPr/>
          <p:nvPr/>
        </p:nvSpPr>
        <p:spPr>
          <a:xfrm>
            <a:off x="238541" y="948845"/>
            <a:ext cx="8764050" cy="417116"/>
          </a:xfrm>
          <a:prstGeom prst="rightArrow">
            <a:avLst>
              <a:gd name="adj1" fmla="val 68781"/>
              <a:gd name="adj2" fmla="val 56021"/>
            </a:avLst>
          </a:prstGeom>
          <a:solidFill>
            <a:srgbClr val="FFFFFF"/>
          </a:solidFill>
          <a:ln w="25400" cap="flat" cmpd="sng" algn="ctr">
            <a:solidFill>
              <a:srgbClr val="4596D1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32" name="Таблица 31">
            <a:extLst>
              <a:ext uri="{FF2B5EF4-FFF2-40B4-BE49-F238E27FC236}">
                <a16:creationId xmlns:a16="http://schemas.microsoft.com/office/drawing/2014/main" xmlns="" id="{87F9E657-F1BC-4F99-8FBC-C619E6E114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5738685"/>
              </p:ext>
            </p:extLst>
          </p:nvPr>
        </p:nvGraphicFramePr>
        <p:xfrm>
          <a:off x="326571" y="998281"/>
          <a:ext cx="8281855" cy="4100701"/>
        </p:xfrm>
        <a:graphic>
          <a:graphicData uri="http://schemas.openxmlformats.org/drawingml/2006/table">
            <a:tbl>
              <a:tblPr firstRow="1" bandRow="1"/>
              <a:tblGrid>
                <a:gridCol w="1371601">
                  <a:extLst>
                    <a:ext uri="{9D8B030D-6E8A-4147-A177-3AD203B41FA5}">
                      <a16:colId xmlns:a16="http://schemas.microsoft.com/office/drawing/2014/main" xmlns="" val="734709675"/>
                    </a:ext>
                  </a:extLst>
                </a:gridCol>
                <a:gridCol w="826125">
                  <a:extLst>
                    <a:ext uri="{9D8B030D-6E8A-4147-A177-3AD203B41FA5}">
                      <a16:colId xmlns:a16="http://schemas.microsoft.com/office/drawing/2014/main" xmlns="" val="991888386"/>
                    </a:ext>
                  </a:extLst>
                </a:gridCol>
                <a:gridCol w="9129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928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280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9280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292807">
                  <a:extLst>
                    <a:ext uri="{9D8B030D-6E8A-4147-A177-3AD203B41FA5}">
                      <a16:colId xmlns:a16="http://schemas.microsoft.com/office/drawing/2014/main" xmlns="" val="4186675380"/>
                    </a:ext>
                  </a:extLst>
                </a:gridCol>
              </a:tblGrid>
              <a:tr h="248194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016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1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0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1100" b="1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11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0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11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0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11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0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11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0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98136">
                <a:tc>
                  <a:txBody>
                    <a:bodyPr/>
                    <a:lstStyle/>
                    <a:p>
                      <a:pPr algn="ctr"/>
                      <a:endParaRPr lang="ru-RU" sz="1100" b="1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1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1100" b="1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1100" b="1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1100" b="1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1100" b="1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1100" b="1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69327607"/>
                  </a:ext>
                </a:extLst>
              </a:tr>
              <a:tr h="393428">
                <a:tc>
                  <a:txBody>
                    <a:bodyPr/>
                    <a:lstStyle/>
                    <a:p>
                      <a:pPr algn="ctr"/>
                      <a:endParaRPr lang="ru-RU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68580" marR="68580" marT="34290" marB="3429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68580" marR="6858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68580" marR="6858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68580" marR="6858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68580" marR="6858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Республика Чувашия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Ульяновская обл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Ивановская обл.</a:t>
                      </a:r>
                    </a:p>
                  </a:txBody>
                  <a:tcPr marL="68580" marR="6858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6984122"/>
                  </a:ext>
                </a:extLst>
              </a:tr>
              <a:tr h="192857">
                <a:tc>
                  <a:txBody>
                    <a:bodyPr/>
                    <a:lstStyle/>
                    <a:p>
                      <a:pPr algn="ctr"/>
                      <a:endParaRPr lang="ru-RU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68580" marR="68580" marT="34290" marB="3429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68580" marR="6858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68580" marR="6858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8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68580" marR="6858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г. Санкт-Петербург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Воронежская</a:t>
                      </a:r>
                      <a:r>
                        <a:rPr lang="en-US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</a:t>
                      </a: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обл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Курская обл.</a:t>
                      </a:r>
                      <a:endParaRPr 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Пермский край</a:t>
                      </a:r>
                    </a:p>
                  </a:txBody>
                  <a:tcPr marL="68580" marR="6858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68580" marR="6858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8571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18000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41427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Курганская обл.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Республика Саха (Якутия)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Краснодарский край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rgbClr val="FF0000"/>
                          </a:solidFill>
                        </a:rPr>
                        <a:t>Мурманская обл.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Челябинская обл.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Забайкальский край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Ставропольский край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Ростовская обл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Орловская обл.</a:t>
                      </a: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sz="1100" b="0" dirty="0">
                        <a:solidFill>
                          <a:srgbClr val="FF0000"/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0942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Белгородская обл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Кемеровская обл.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Республика Дагестан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Сахалинская обл.</a:t>
                      </a:r>
                    </a:p>
                    <a:p>
                      <a:pPr marL="635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Липецкая обл.</a:t>
                      </a: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0942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Рязанская обл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Республика Адыгея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Сев. Осетия-Алания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Нижегородская </a:t>
                      </a:r>
                      <a:r>
                        <a:rPr lang="ru-RU" sz="700" b="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обл</a:t>
                      </a: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rgbClr val="FF0000"/>
                          </a:solidFill>
                        </a:rPr>
                        <a:t>Кировская обл.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700" b="0" dirty="0">
                          <a:solidFill>
                            <a:srgbClr val="FF0000"/>
                          </a:solidFill>
                        </a:rPr>
                        <a:t>Респ. Башкортостан</a:t>
                      </a:r>
                      <a:endParaRPr lang="en-US" sz="700" b="0" dirty="0">
                        <a:solidFill>
                          <a:srgbClr val="FF0000"/>
                        </a:solidFill>
                      </a:endParaRPr>
                    </a:p>
                  </a:txBody>
                  <a:tcPr marL="27000" marR="1350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7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27000" marR="13500" marT="34290" marB="34290">
                    <a:lnL w="3175" cap="flat" cmpd="sng" algn="ctr">
                      <a:solidFill>
                        <a:srgbClr val="41414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4915A3DB-EB82-46D1-BA9C-C2D8223CD229}"/>
              </a:ext>
            </a:extLst>
          </p:cNvPr>
          <p:cNvSpPr/>
          <p:nvPr/>
        </p:nvSpPr>
        <p:spPr>
          <a:xfrm>
            <a:off x="2291073" y="4104996"/>
            <a:ext cx="13451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808080">
                    <a:lumMod val="75000"/>
                  </a:srgbClr>
                </a:solidFill>
                <a:cs typeface="Arial" panose="020B0604020202020204" pitchFamily="34" charset="0"/>
              </a:rPr>
              <a:t>6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9BC1884E-352B-4A02-A893-E739F9038E9A}"/>
              </a:ext>
            </a:extLst>
          </p:cNvPr>
          <p:cNvSpPr/>
          <p:nvPr/>
        </p:nvSpPr>
        <p:spPr>
          <a:xfrm>
            <a:off x="3363482" y="3493639"/>
            <a:ext cx="13451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808080">
                    <a:lumMod val="75000"/>
                  </a:srgbClr>
                </a:solidFill>
                <a:cs typeface="Arial" panose="020B0604020202020204" pitchFamily="34" charset="0"/>
              </a:rPr>
              <a:t>+</a:t>
            </a:r>
            <a:r>
              <a:rPr lang="ru-RU" b="1" dirty="0">
                <a:solidFill>
                  <a:srgbClr val="808080">
                    <a:lumMod val="75000"/>
                  </a:srgbClr>
                </a:solidFill>
                <a:cs typeface="Arial" panose="020B0604020202020204" pitchFamily="34" charset="0"/>
              </a:rPr>
              <a:t>5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E7886026-F3D3-4C60-ABF5-029365260A06}"/>
              </a:ext>
            </a:extLst>
          </p:cNvPr>
          <p:cNvSpPr/>
          <p:nvPr/>
        </p:nvSpPr>
        <p:spPr>
          <a:xfrm>
            <a:off x="4708596" y="2454518"/>
            <a:ext cx="13451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808080">
                    <a:lumMod val="75000"/>
                  </a:srgbClr>
                </a:solidFill>
                <a:cs typeface="Arial" panose="020B0604020202020204" pitchFamily="34" charset="0"/>
              </a:rPr>
              <a:t>+</a:t>
            </a:r>
            <a:r>
              <a:rPr lang="ru-RU" b="1" dirty="0">
                <a:solidFill>
                  <a:srgbClr val="808080">
                    <a:lumMod val="75000"/>
                  </a:srgbClr>
                </a:solidFill>
                <a:cs typeface="Arial" panose="020B0604020202020204" pitchFamily="34" charset="0"/>
              </a:rPr>
              <a:t>9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BB205CD3-9886-415C-89B0-8B28980CA13B}"/>
              </a:ext>
            </a:extLst>
          </p:cNvPr>
          <p:cNvSpPr/>
          <p:nvPr/>
        </p:nvSpPr>
        <p:spPr>
          <a:xfrm>
            <a:off x="5932348" y="1955081"/>
            <a:ext cx="13189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808080">
                    <a:lumMod val="75000"/>
                  </a:srgbClr>
                </a:solidFill>
                <a:cs typeface="Arial" panose="020B0604020202020204" pitchFamily="34" charset="0"/>
              </a:rPr>
              <a:t>+</a:t>
            </a:r>
            <a:r>
              <a:rPr lang="ru-RU" b="1" dirty="0">
                <a:solidFill>
                  <a:srgbClr val="808080">
                    <a:lumMod val="75000"/>
                  </a:srgbClr>
                </a:solidFill>
                <a:cs typeface="Arial" panose="020B0604020202020204" pitchFamily="34" charset="0"/>
              </a:rPr>
              <a:t>4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5BE28C00-424A-4464-8186-07CC0351DF06}"/>
              </a:ext>
            </a:extLst>
          </p:cNvPr>
          <p:cNvSpPr/>
          <p:nvPr/>
        </p:nvSpPr>
        <p:spPr>
          <a:xfrm>
            <a:off x="7251342" y="1592143"/>
            <a:ext cx="13570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808080">
                    <a:lumMod val="75000"/>
                  </a:srgbClr>
                </a:solidFill>
                <a:cs typeface="Arial" panose="020B0604020202020204" pitchFamily="34" charset="0"/>
              </a:rPr>
              <a:t>+</a:t>
            </a:r>
            <a:r>
              <a:rPr lang="ru-RU" b="1" dirty="0">
                <a:solidFill>
                  <a:srgbClr val="808080">
                    <a:lumMod val="75000"/>
                  </a:srgbClr>
                </a:solidFill>
                <a:cs typeface="Arial" panose="020B0604020202020204" pitchFamily="34" charset="0"/>
              </a:rPr>
              <a:t>3 = 27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037BC5FA-9DB7-4A66-85AC-327738A32C2C}"/>
              </a:ext>
            </a:extLst>
          </p:cNvPr>
          <p:cNvSpPr/>
          <p:nvPr/>
        </p:nvSpPr>
        <p:spPr>
          <a:xfrm>
            <a:off x="796104" y="4398210"/>
            <a:ext cx="102543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Пилотный проект «Бережливая поликлиника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Ярославль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евастополь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Калининград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D90970D2-112E-48CC-86A1-3EA3265059DD}"/>
              </a:ext>
            </a:extLst>
          </p:cNvPr>
          <p:cNvSpPr/>
          <p:nvPr/>
        </p:nvSpPr>
        <p:spPr>
          <a:xfrm>
            <a:off x="1684781" y="4407300"/>
            <a:ext cx="86392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Тиражирование «бережливых поликлиник»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44AB39ED-53A8-4F04-B4E8-332E8683FD7B}"/>
              </a:ext>
            </a:extLst>
          </p:cNvPr>
          <p:cNvSpPr/>
          <p:nvPr/>
        </p:nvSpPr>
        <p:spPr>
          <a:xfrm>
            <a:off x="1605753" y="1594686"/>
            <a:ext cx="1014137" cy="81887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spcAft>
                <a:spcPts val="0"/>
              </a:spcAft>
            </a:pPr>
            <a:r>
              <a:rPr lang="ru-RU" sz="700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14 фев 2017 г. </a:t>
            </a:r>
            <a:r>
              <a:rPr lang="ru-RU" sz="7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 </a:t>
            </a:r>
            <a:br>
              <a:rPr lang="ru-RU" sz="7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7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Наб. совет </a:t>
            </a:r>
            <a:br>
              <a:rPr lang="ru-RU" sz="7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7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ГК «Росатом»</a:t>
            </a:r>
          </a:p>
          <a:p>
            <a:pPr>
              <a:lnSpc>
                <a:spcPct val="114000"/>
              </a:lnSpc>
              <a:spcAft>
                <a:spcPts val="0"/>
              </a:spcAft>
            </a:pPr>
            <a:r>
              <a:rPr lang="ru-RU" sz="7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принял решение </a:t>
            </a:r>
            <a:br>
              <a:rPr lang="ru-RU" sz="7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7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о работе ПСР </a:t>
            </a:r>
            <a:br>
              <a:rPr lang="ru-RU" sz="7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7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по заказу ФОИВ</a:t>
            </a:r>
          </a:p>
        </p:txBody>
      </p:sp>
      <p:sp>
        <p:nvSpPr>
          <p:cNvPr id="5" name="Равнобедренный треугольник 4">
            <a:extLst>
              <a:ext uri="{FF2B5EF4-FFF2-40B4-BE49-F238E27FC236}">
                <a16:creationId xmlns:a16="http://schemas.microsoft.com/office/drawing/2014/main" xmlns="" id="{81FE6DA5-AC15-4E0A-81E8-49F489F79EE2}"/>
              </a:ext>
            </a:extLst>
          </p:cNvPr>
          <p:cNvSpPr/>
          <p:nvPr/>
        </p:nvSpPr>
        <p:spPr>
          <a:xfrm>
            <a:off x="1821541" y="1379153"/>
            <a:ext cx="99427" cy="227081"/>
          </a:xfrm>
          <a:prstGeom prst="triangl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AF861568-75DA-430E-A972-B99AD145C495}"/>
              </a:ext>
            </a:extLst>
          </p:cNvPr>
          <p:cNvSpPr/>
          <p:nvPr/>
        </p:nvSpPr>
        <p:spPr>
          <a:xfrm>
            <a:off x="2695768" y="3997274"/>
            <a:ext cx="53572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пилоты</a:t>
            </a:r>
            <a:endParaRPr lang="ru-RU" dirty="0"/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xmlns="" id="{C0F34998-EA96-4891-9633-9D54BF73780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0062" y="1906473"/>
            <a:ext cx="1357084" cy="1698367"/>
          </a:xfrm>
          <a:prstGeom prst="rect">
            <a:avLst/>
          </a:prstGeom>
          <a:ln w="12700">
            <a:solidFill>
              <a:schemeClr val="bg2">
                <a:lumMod val="25000"/>
              </a:schemeClr>
            </a:solidFill>
          </a:ln>
        </p:spPr>
      </p:pic>
      <p:sp>
        <p:nvSpPr>
          <p:cNvPr id="45" name="Равнобедренный треугольник 44">
            <a:extLst>
              <a:ext uri="{FF2B5EF4-FFF2-40B4-BE49-F238E27FC236}">
                <a16:creationId xmlns:a16="http://schemas.microsoft.com/office/drawing/2014/main" xmlns="" id="{2EBE777A-3649-4963-8009-0161BB869588}"/>
              </a:ext>
            </a:extLst>
          </p:cNvPr>
          <p:cNvSpPr/>
          <p:nvPr/>
        </p:nvSpPr>
        <p:spPr>
          <a:xfrm>
            <a:off x="3279387" y="1379152"/>
            <a:ext cx="99427" cy="227081"/>
          </a:xfrm>
          <a:prstGeom prst="triangl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AE015BAB-8D17-4655-BD2A-DCCFA65E3B2C}"/>
              </a:ext>
            </a:extLst>
          </p:cNvPr>
          <p:cNvSpPr/>
          <p:nvPr/>
        </p:nvSpPr>
        <p:spPr>
          <a:xfrm>
            <a:off x="2682424" y="1590642"/>
            <a:ext cx="156645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b="1" dirty="0">
                <a:solidFill>
                  <a:srgbClr val="414142"/>
                </a:solidFill>
                <a:ea typeface="Times New Roman" panose="02020603050405020304" pitchFamily="18" charset="0"/>
              </a:rPr>
              <a:t>6 дек 2017 г. </a:t>
            </a:r>
            <a:r>
              <a:rPr lang="ru-RU" sz="700" dirty="0">
                <a:solidFill>
                  <a:srgbClr val="414142"/>
                </a:solidFill>
                <a:ea typeface="Times New Roman" panose="02020603050405020304" pitchFamily="18" charset="0"/>
              </a:rPr>
              <a:t>–</a:t>
            </a:r>
          </a:p>
          <a:p>
            <a:r>
              <a:rPr lang="ru-RU" sz="700" dirty="0">
                <a:solidFill>
                  <a:srgbClr val="414142"/>
                </a:solidFill>
                <a:ea typeface="Times New Roman" panose="02020603050405020304" pitchFamily="18" charset="0"/>
              </a:rPr>
              <a:t>Письмо Г. Никитина Президенту </a:t>
            </a:r>
            <a:endParaRPr lang="ru-RU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46" name="Picture 2" descr="&amp;Kcy;&amp;acy;&amp;rcy;&amp;tcy;&amp;icy;&amp;ncy;&amp;kcy;&amp;icy; &amp;pcy;&amp;ocy; &amp;zcy;&amp;acy;&amp;pcy;&amp;rcy;&amp;ocy;&amp;scy;&amp;ucy; &amp;zcy;&amp;dcy;&amp;rcy;&amp;acy;&amp;vcy;&amp;ocy;&amp;ocy;&amp;khcy;&amp;rcy;&amp;acy;&amp;ncy;&amp;iecy;&amp;ncy;&amp;icy;&amp;iecy; png">
            <a:extLst>
              <a:ext uri="{FF2B5EF4-FFF2-40B4-BE49-F238E27FC236}">
                <a16:creationId xmlns:a16="http://schemas.microsoft.com/office/drawing/2014/main" xmlns="" id="{856A4669-41B3-48C7-8BE1-DB0BD48AA7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7108" y="3696407"/>
            <a:ext cx="500987" cy="549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86C4B1BB-497C-418A-A428-7D5D27CBF3CF}"/>
              </a:ext>
            </a:extLst>
          </p:cNvPr>
          <p:cNvSpPr/>
          <p:nvPr/>
        </p:nvSpPr>
        <p:spPr>
          <a:xfrm>
            <a:off x="868000" y="4213738"/>
            <a:ext cx="792205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Минздрав РФ</a:t>
            </a:r>
            <a:endParaRPr lang="ru-RU" sz="700" b="1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B742E6D9-0F52-4E0F-8122-06915E20996B}"/>
              </a:ext>
            </a:extLst>
          </p:cNvPr>
          <p:cNvSpPr/>
          <p:nvPr/>
        </p:nvSpPr>
        <p:spPr>
          <a:xfrm>
            <a:off x="790371" y="1595180"/>
            <a:ext cx="914463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b="1" dirty="0">
                <a:solidFill>
                  <a:srgbClr val="404040"/>
                </a:solidFill>
                <a:latin typeface="Arial" panose="020B0604020202020204" pitchFamily="34" charset="0"/>
              </a:rPr>
              <a:t>17 ноя 2016 г. </a:t>
            </a:r>
            <a:r>
              <a:rPr lang="ru-RU" sz="700" dirty="0">
                <a:solidFill>
                  <a:srgbClr val="404040"/>
                </a:solidFill>
                <a:latin typeface="Arial" panose="020B0604020202020204" pitchFamily="34" charset="0"/>
              </a:rPr>
              <a:t>совещание на Старой Площади</a:t>
            </a:r>
          </a:p>
          <a:p>
            <a:r>
              <a:rPr lang="ru-RU" sz="700" dirty="0">
                <a:solidFill>
                  <a:srgbClr val="404040"/>
                </a:solidFill>
                <a:latin typeface="Arial" panose="020B0604020202020204" pitchFamily="34" charset="0"/>
              </a:rPr>
              <a:t>Кириенко С.В.</a:t>
            </a:r>
          </a:p>
          <a:p>
            <a:r>
              <a:rPr lang="ru-RU" sz="700" dirty="0">
                <a:solidFill>
                  <a:srgbClr val="404040"/>
                </a:solidFill>
                <a:latin typeface="Arial" panose="020B0604020202020204" pitchFamily="34" charset="0"/>
              </a:rPr>
              <a:t>Скворцова В.И.</a:t>
            </a:r>
          </a:p>
          <a:p>
            <a:r>
              <a:rPr lang="ru-RU" sz="700" dirty="0">
                <a:solidFill>
                  <a:srgbClr val="404040"/>
                </a:solidFill>
                <a:latin typeface="Arial" panose="020B0604020202020204" pitchFamily="34" charset="0"/>
              </a:rPr>
              <a:t>Яковлева Т.В.</a:t>
            </a:r>
          </a:p>
          <a:p>
            <a:r>
              <a:rPr lang="ru-RU" sz="700" dirty="0">
                <a:solidFill>
                  <a:srgbClr val="404040"/>
                </a:solidFill>
                <a:latin typeface="Arial" panose="020B0604020202020204" pitchFamily="34" charset="0"/>
              </a:rPr>
              <a:t>Обозов С.А.</a:t>
            </a:r>
            <a:endParaRPr lang="ru-RU" sz="700" dirty="0"/>
          </a:p>
        </p:txBody>
      </p:sp>
      <p:sp>
        <p:nvSpPr>
          <p:cNvPr id="48" name="Равнобедренный треугольник 47">
            <a:extLst>
              <a:ext uri="{FF2B5EF4-FFF2-40B4-BE49-F238E27FC236}">
                <a16:creationId xmlns:a16="http://schemas.microsoft.com/office/drawing/2014/main" xmlns="" id="{A1DA9C1A-9DA2-4D26-B18B-0A87CF4AD114}"/>
              </a:ext>
            </a:extLst>
          </p:cNvPr>
          <p:cNvSpPr/>
          <p:nvPr/>
        </p:nvSpPr>
        <p:spPr>
          <a:xfrm>
            <a:off x="1391100" y="1363561"/>
            <a:ext cx="99427" cy="227081"/>
          </a:xfrm>
          <a:prstGeom prst="triangl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10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195566" y="4896506"/>
            <a:ext cx="296876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ЭР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4" name="Стрелка вниз 23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581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2" name="Прямая соединительная линия 111">
            <a:extLst>
              <a:ext uri="{FF2B5EF4-FFF2-40B4-BE49-F238E27FC236}">
                <a16:creationId xmlns:a16="http://schemas.microsoft.com/office/drawing/2014/main" xmlns="" id="{260C9A8C-ED08-4AB3-8CE9-A1812BB45C8B}"/>
              </a:ext>
            </a:extLst>
          </p:cNvPr>
          <p:cNvCxnSpPr/>
          <p:nvPr/>
        </p:nvCxnSpPr>
        <p:spPr>
          <a:xfrm>
            <a:off x="21621" y="920027"/>
            <a:ext cx="8986512" cy="0"/>
          </a:xfrm>
          <a:prstGeom prst="line">
            <a:avLst/>
          </a:prstGeom>
          <a:ln w="9525">
            <a:solidFill>
              <a:schemeClr val="bg2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2" name="Диаграмма 81">
            <a:extLst>
              <a:ext uri="{FF2B5EF4-FFF2-40B4-BE49-F238E27FC236}">
                <a16:creationId xmlns:a16="http://schemas.microsoft.com/office/drawing/2014/main" xmlns="" id="{B26A8E39-E07C-4823-911E-B6B2EEDABB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8998556"/>
              </p:ext>
            </p:extLst>
          </p:nvPr>
        </p:nvGraphicFramePr>
        <p:xfrm>
          <a:off x="21621" y="122663"/>
          <a:ext cx="8770608" cy="4761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11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95566" y="4896506"/>
            <a:ext cx="707245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Проекты ЭР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Стрелка вниз 5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017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332298" y="-2280"/>
            <a:ext cx="8282313" cy="67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582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1651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67481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331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8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-2019 гг. За </a:t>
            </a:r>
            <a:r>
              <a:rPr lang="en-US" sz="18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5</a:t>
            </a:r>
            <a:r>
              <a:rPr lang="ru-RU" sz="18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ода в рамках </a:t>
            </a:r>
            <a:r>
              <a:rPr lang="ru-RU" sz="18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ы </a:t>
            </a:r>
            <a:r>
              <a:rPr lang="ru-RU" sz="18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Эффективный регион» </a:t>
            </a:r>
          </a:p>
          <a:p>
            <a:r>
              <a:rPr lang="ru-RU" sz="18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19 регионах РФ – более 9000 проектов. Примеры результатов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19816" y="1297773"/>
            <a:ext cx="2595783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Очереди на прием к врачу</a:t>
            </a: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Время оформления записи </a:t>
            </a:r>
            <a:b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на прием к врачу</a:t>
            </a: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Время ожидания приема специалиста </a:t>
            </a: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Продолжительность диспансеризации</a:t>
            </a:r>
            <a:endParaRPr lang="ru-RU" sz="1200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914225" y="3438606"/>
            <a:ext cx="2683469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Время ожидания в очереди</a:t>
            </a:r>
            <a:b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</a:br>
            <a:endParaRPr lang="ru-RU" sz="5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Продолжительность приема документов</a:t>
            </a: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Время обслуживания заявителей </a:t>
            </a: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Время обработки документов </a:t>
            </a:r>
            <a:endParaRPr lang="ru-RU" sz="1200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753677" y="678280"/>
            <a:ext cx="412380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6"/>
                </a:solidFill>
              </a:rPr>
              <a:t>Государственное управление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105685" y="669074"/>
            <a:ext cx="18437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kern="0" dirty="0"/>
              <a:t>Социальная сфера</a:t>
            </a:r>
            <a:endParaRPr lang="en-US" sz="1600" b="1" kern="0" dirty="0"/>
          </a:p>
        </p:txBody>
      </p:sp>
      <p:pic>
        <p:nvPicPr>
          <p:cNvPr id="10" name="Picture 4" descr="https://encrypted-tbn3.gstatic.com/images?q=tbn:ANd9GcRrHberHowTm2c5wB8nBPSTx9MTU2R0KhB--FG09rh5atnRWXDdI2LOVB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672" y="1040284"/>
            <a:ext cx="349531" cy="356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&amp;Kcy;&amp;acy;&amp;rcy;&amp;tcy;&amp;icy;&amp;ncy;&amp;kcy;&amp;icy; &amp;pcy;&amp;ocy; &amp;zcy;&amp;acy;&amp;pcy;&amp;rcy;&amp;ocy;&amp;scy;&amp;ucy; &amp;ocy;&amp;bcy;&amp;rcy;&amp;acy;&amp;zcy;&amp;ocy;&amp;vcy;&amp;acy;&amp;ncy;&amp;icy;&amp;iecy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848034"/>
            <a:ext cx="495560" cy="360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6918" y="3168578"/>
            <a:ext cx="304351" cy="41908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1577" y="1061017"/>
            <a:ext cx="390705" cy="418246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378377" y="1067213"/>
            <a:ext cx="13811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defRPr/>
            </a:pP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Здравоохранение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15551" y="2889739"/>
            <a:ext cx="107433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defRPr/>
            </a:pP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Образование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140143" y="1274378"/>
            <a:ext cx="819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latin typeface="Arial"/>
              </a:rPr>
              <a:t>до 8 раз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140143" y="1667526"/>
            <a:ext cx="7251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latin typeface="Arial"/>
              </a:rPr>
              <a:t>в 5 раз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140143" y="2067980"/>
            <a:ext cx="90492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latin typeface="Arial"/>
              </a:rPr>
              <a:t>до 12 раз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140143" y="2489621"/>
            <a:ext cx="90492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latin typeface="Arial"/>
              </a:rPr>
              <a:t>до 12 раз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157914" y="3190495"/>
            <a:ext cx="7920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latin typeface="Arial"/>
              </a:rPr>
              <a:t>в 2 раза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26449" y="3160598"/>
            <a:ext cx="286351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Время подачи документов</a:t>
            </a: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Время формирования </a:t>
            </a:r>
            <a:b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учебного плана студента</a:t>
            </a: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Время подготовки </a:t>
            </a:r>
            <a:br>
              <a:rPr lang="ru-RU" sz="1200" dirty="0"/>
            </a:br>
            <a:r>
              <a:rPr lang="ru-RU" sz="1200" dirty="0"/>
              <a:t>к лабораторным работам</a:t>
            </a:r>
            <a:endParaRPr lang="ru-RU" sz="5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157914" y="3601338"/>
            <a:ext cx="70910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latin typeface="Arial"/>
              </a:rPr>
              <a:t>в 5 раз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157914" y="4004296"/>
            <a:ext cx="7920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latin typeface="Arial"/>
              </a:rPr>
              <a:t>в 4 раза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878646" y="1101122"/>
            <a:ext cx="19287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defRPr/>
            </a:pPr>
            <a:r>
              <a:rPr lang="ru-RU" sz="1200" b="1" dirty="0"/>
              <a:t>Проекты в Министерствах</a:t>
            </a:r>
            <a:endParaRPr lang="ru-RU" sz="12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4886431" y="3150373"/>
            <a:ext cx="53091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300"/>
              </a:spcAft>
              <a:buClr>
                <a:schemeClr val="bg2">
                  <a:lumMod val="50000"/>
                </a:schemeClr>
              </a:buClr>
              <a:defRPr/>
            </a:pP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МФЦ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7983553" y="1375815"/>
            <a:ext cx="7920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3 раза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7983553" y="1887421"/>
            <a:ext cx="819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до 5 раз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7983553" y="2300663"/>
            <a:ext cx="7251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6 раз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7983553" y="2750475"/>
            <a:ext cx="9202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4,5 раза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878646" y="1360422"/>
            <a:ext cx="3094756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Время принятия </a:t>
            </a:r>
            <a:b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распоряжения Правительства</a:t>
            </a: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5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Время от входа в здание </a:t>
            </a:r>
            <a:br>
              <a:rPr lang="ru-RU" sz="1200" dirty="0"/>
            </a:br>
            <a:r>
              <a:rPr lang="ru-RU" sz="1200" dirty="0"/>
              <a:t>до приема специалистами </a:t>
            </a: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500" dirty="0"/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Время лицензирования</a:t>
            </a:r>
            <a:br>
              <a:rPr lang="ru-RU" sz="1200" dirty="0"/>
            </a:br>
            <a:r>
              <a:rPr lang="ru-RU" sz="1200" dirty="0"/>
              <a:t>продукции 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defRPr/>
            </a:pPr>
            <a:endParaRPr lang="ru-RU" sz="5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Время получения разрешения </a:t>
            </a:r>
            <a:b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на земляные работы</a:t>
            </a:r>
            <a:endParaRPr lang="en-US" sz="1200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7991338" y="3395399"/>
            <a:ext cx="7940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19 раз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7991338" y="3707238"/>
            <a:ext cx="70910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6 раз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7991338" y="4046812"/>
            <a:ext cx="9202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2,5 раза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7991338" y="4382433"/>
            <a:ext cx="7940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solidFill>
                  <a:srgbClr val="808080">
                    <a:lumMod val="50000"/>
                  </a:srgbClr>
                </a:solidFill>
                <a:latin typeface="Arial"/>
              </a:rPr>
              <a:t>в 13 раз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4205533" y="809880"/>
            <a:ext cx="0" cy="4176000"/>
          </a:xfrm>
          <a:prstGeom prst="line">
            <a:avLst/>
          </a:prstGeom>
          <a:ln w="9525">
            <a:solidFill>
              <a:schemeClr val="bg2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-109028" y="1004325"/>
            <a:ext cx="8986512" cy="0"/>
          </a:xfrm>
          <a:prstGeom prst="line">
            <a:avLst/>
          </a:prstGeom>
          <a:ln w="9525">
            <a:solidFill>
              <a:schemeClr val="bg2">
                <a:lumMod val="60000"/>
                <a:lumOff val="4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>
            <a:off x="407723" y="4517395"/>
            <a:ext cx="231274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Время приема граждан</a:t>
            </a:r>
            <a:endParaRPr lang="en-US" sz="1200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669" y="4302190"/>
            <a:ext cx="360925" cy="430410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495560" y="4323811"/>
            <a:ext cx="138307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buClr>
                <a:srgbClr val="808080">
                  <a:lumMod val="50000"/>
                </a:srgbClr>
              </a:buClr>
              <a:defRPr/>
            </a:pP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Центры занятости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3157914" y="4441294"/>
            <a:ext cx="9202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b="1" dirty="0">
                <a:latin typeface="Arial"/>
              </a:rPr>
              <a:t>в 4,6 раза</a:t>
            </a:r>
          </a:p>
        </p:txBody>
      </p:sp>
      <p:sp>
        <p:nvSpPr>
          <p:cNvPr id="41" name="Стрелка вверх 40"/>
          <p:cNvSpPr/>
          <p:nvPr/>
        </p:nvSpPr>
        <p:spPr>
          <a:xfrm rot="10800000">
            <a:off x="2648150" y="1227916"/>
            <a:ext cx="551574" cy="3556555"/>
          </a:xfrm>
          <a:prstGeom prst="up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2" name="Стрелка вверх 41"/>
          <p:cNvSpPr/>
          <p:nvPr/>
        </p:nvSpPr>
        <p:spPr>
          <a:xfrm rot="10800000">
            <a:off x="7388641" y="1330371"/>
            <a:ext cx="551574" cy="3556555"/>
          </a:xfrm>
          <a:prstGeom prst="up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12</a:t>
            </a:r>
            <a:endParaRPr lang="ru-RU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195566" y="4896506"/>
            <a:ext cx="809837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Проект Лицей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5" name="Стрелка вниз 44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9623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340" y="269507"/>
            <a:ext cx="7482125" cy="4878755"/>
          </a:xfrm>
          <a:prstGeom prst="rect">
            <a:avLst/>
          </a:prstGeom>
        </p:spPr>
      </p:pic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177799" y="-96700"/>
            <a:ext cx="5621825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241390" algn="l"/>
              </a:tabLst>
              <a:defRPr/>
            </a:pPr>
            <a:r>
              <a:rPr kumimoji="0" lang="ru-RU" sz="1501" b="1" i="0" u="none" strike="noStrike" kern="0" cap="none" spc="0" normalizeH="0" baseline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Проект «Эффективный регион» </a:t>
            </a:r>
            <a:br>
              <a:rPr kumimoji="0" lang="ru-RU" sz="1501" b="1" i="0" u="none" strike="noStrike" kern="0" cap="none" spc="0" normalizeH="0" baseline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endParaRPr kumimoji="0" lang="ru-RU" sz="1501" b="0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13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74470" y="4898652"/>
            <a:ext cx="679994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Проект </a:t>
            </a:r>
            <a:r>
              <a:rPr lang="ru-RU" sz="817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Вак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Стрелка вниз 7"/>
          <p:cNvSpPr/>
          <p:nvPr/>
        </p:nvSpPr>
        <p:spPr>
          <a:xfrm>
            <a:off x="359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17609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290"/>
          <a:stretch/>
        </p:blipFill>
        <p:spPr>
          <a:xfrm>
            <a:off x="991402" y="264393"/>
            <a:ext cx="6863548" cy="4874626"/>
          </a:xfrm>
          <a:prstGeom prst="rect">
            <a:avLst/>
          </a:prstGeom>
        </p:spPr>
      </p:pic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177799" y="-96700"/>
            <a:ext cx="5621825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241390" algn="l"/>
              </a:tabLst>
              <a:defRPr/>
            </a:pPr>
            <a:r>
              <a:rPr kumimoji="0" lang="ru-RU" sz="1501" b="1" i="0" u="none" strike="noStrike" kern="0" cap="none" spc="0" normalizeH="0" baseline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Проект «Эффективный регион» </a:t>
            </a:r>
            <a:br>
              <a:rPr kumimoji="0" lang="ru-RU" sz="1501" b="1" i="0" u="none" strike="noStrike" kern="0" cap="none" spc="0" normalizeH="0" baseline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endParaRPr kumimoji="0" lang="ru-RU" sz="1501" b="0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14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48329" y="4898652"/>
            <a:ext cx="837089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Заказ образцы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Стрелка вниз 7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90063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Заголовок 3"/>
          <p:cNvSpPr>
            <a:spLocks noGrp="1"/>
          </p:cNvSpPr>
          <p:nvPr>
            <p:ph type="title"/>
          </p:nvPr>
        </p:nvSpPr>
        <p:spPr>
          <a:xfrm>
            <a:off x="927291" y="81193"/>
            <a:ext cx="6655410" cy="721519"/>
          </a:xfrm>
        </p:spPr>
        <p:txBody>
          <a:bodyPr anchor="ctr"/>
          <a:lstStyle/>
          <a:p>
            <a:pPr algn="ctr"/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Заказ руководства Госкорпорации «</a:t>
            </a:r>
            <a:r>
              <a:rPr lang="ru-RU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Росатом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b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 на создание образцов</a:t>
            </a:r>
            <a:endParaRPr lang="ru-RU" altLang="ru-RU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322696" y="3952317"/>
            <a:ext cx="47138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Поддержать подход </a:t>
            </a:r>
            <a:r>
              <a:rPr lang="en-US" sz="1200" dirty="0"/>
              <a:t>&lt;…&gt; </a:t>
            </a:r>
            <a:r>
              <a:rPr lang="ru-RU" sz="1200" b="1" dirty="0">
                <a:solidFill>
                  <a:srgbClr val="7CBF33"/>
                </a:solidFill>
              </a:rPr>
              <a:t>В ЧАСТИ СОЗДАНИЯ ОБРАЗЦОВ</a:t>
            </a:r>
            <a:r>
              <a:rPr lang="ru-RU" sz="1200" b="1" dirty="0"/>
              <a:t> </a:t>
            </a:r>
            <a:br>
              <a:rPr lang="ru-RU" sz="1200" b="1" dirty="0"/>
            </a:br>
            <a:r>
              <a:rPr lang="ru-RU" sz="1200" dirty="0"/>
              <a:t>и типовых решений в различных секторах социальной сферы, государственного и муниципального управления </a:t>
            </a:r>
            <a:r>
              <a:rPr lang="en-US" sz="1200" dirty="0"/>
              <a:t>&lt;</a:t>
            </a:r>
            <a:r>
              <a:rPr lang="ru-RU" sz="1200" dirty="0"/>
              <a:t>…</a:t>
            </a:r>
            <a:r>
              <a:rPr lang="en-US" sz="1200" dirty="0"/>
              <a:t>&gt;</a:t>
            </a:r>
            <a:endParaRPr lang="ru-RU" sz="1200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5508104" y="2776416"/>
            <a:ext cx="35283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33388"/>
            <a:r>
              <a:rPr lang="ru-RU" sz="1200" dirty="0"/>
              <a:t>Протокол от 24.06.2019 № 118 заседания наблюдательного совета </a:t>
            </a:r>
            <a:br>
              <a:rPr lang="ru-RU" sz="1200" dirty="0"/>
            </a:br>
            <a:r>
              <a:rPr lang="ru-RU" sz="1200" dirty="0"/>
              <a:t>ГК «Росатом»</a:t>
            </a:r>
          </a:p>
        </p:txBody>
      </p:sp>
      <p:pic>
        <p:nvPicPr>
          <p:cNvPr id="51" name="Рисунок 5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138631" y="2803971"/>
            <a:ext cx="1497358" cy="1066305"/>
          </a:xfrm>
          <a:prstGeom prst="rect">
            <a:avLst/>
          </a:prstGeom>
          <a:ln w="6350">
            <a:solidFill>
              <a:schemeClr val="bg2">
                <a:lumMod val="50000"/>
              </a:schemeClr>
            </a:solidFill>
          </a:ln>
        </p:spPr>
      </p:pic>
      <p:sp>
        <p:nvSpPr>
          <p:cNvPr id="52" name="Прямоугольник 51"/>
          <p:cNvSpPr/>
          <p:nvPr/>
        </p:nvSpPr>
        <p:spPr>
          <a:xfrm>
            <a:off x="1636352" y="2814704"/>
            <a:ext cx="25399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808080">
                    <a:lumMod val="50000"/>
                  </a:srgbClr>
                </a:solidFill>
              </a:rPr>
              <a:t>Распоряжение генерального директора ГК от 23.01.2018 </a:t>
            </a:r>
          </a:p>
          <a:p>
            <a:r>
              <a:rPr lang="ru-RU" sz="1200" dirty="0">
                <a:solidFill>
                  <a:srgbClr val="808080">
                    <a:lumMod val="50000"/>
                  </a:srgbClr>
                </a:solidFill>
              </a:rPr>
              <a:t>№ 1-1/38-Р </a:t>
            </a:r>
            <a:br>
              <a:rPr lang="ru-RU" sz="1200" dirty="0">
                <a:solidFill>
                  <a:srgbClr val="808080">
                    <a:lumMod val="50000"/>
                  </a:srgbClr>
                </a:solidFill>
              </a:rPr>
            </a:br>
            <a:endParaRPr lang="ru-RU" sz="1200" dirty="0">
              <a:solidFill>
                <a:srgbClr val="808080">
                  <a:lumMod val="50000"/>
                </a:srgbClr>
              </a:solidFill>
            </a:endParaRP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2965" y="2802047"/>
            <a:ext cx="1530143" cy="1068228"/>
          </a:xfrm>
          <a:prstGeom prst="rect">
            <a:avLst/>
          </a:prstGeom>
        </p:spPr>
      </p:pic>
      <p:sp>
        <p:nvSpPr>
          <p:cNvPr id="54" name="Прямоугольник 53"/>
          <p:cNvSpPr/>
          <p:nvPr/>
        </p:nvSpPr>
        <p:spPr>
          <a:xfrm>
            <a:off x="35498" y="790502"/>
            <a:ext cx="418676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cs typeface="Times New Roman" panose="02020603050405020304" pitchFamily="18" charset="0"/>
              </a:rPr>
              <a:t>2018.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cs typeface="Times New Roman" panose="02020603050405020304" pitchFamily="18" charset="0"/>
              </a:rPr>
              <a:t> </a:t>
            </a:r>
            <a:r>
              <a:rPr lang="ru-RU" sz="1400" b="1" dirty="0">
                <a:solidFill>
                  <a:srgbClr val="7CBF33"/>
                </a:solidFill>
                <a:cs typeface="Times New Roman" panose="02020603050405020304" pitchFamily="18" charset="0"/>
              </a:rPr>
              <a:t>ОБРАЗЦЫ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cs typeface="Times New Roman" panose="02020603050405020304" pitchFamily="18" charset="0"/>
              </a:rPr>
              <a:t> </a:t>
            </a:r>
            <a:r>
              <a:rPr lang="ru-RU" sz="1400" b="1" dirty="0">
                <a:cs typeface="Times New Roman" panose="02020603050405020304" pitchFamily="18" charset="0"/>
              </a:rPr>
              <a:t>в производстве</a:t>
            </a:r>
            <a:endParaRPr lang="ru-RU" sz="1400" b="1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5913107" y="1673032"/>
            <a:ext cx="2568678" cy="934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ru-RU" sz="1200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Кириенко С.В., </a:t>
            </a:r>
            <a:r>
              <a:rPr lang="ru-RU" sz="12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/>
            </a:r>
            <a:br>
              <a:rPr lang="ru-RU" sz="12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2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Председатель </a:t>
            </a:r>
            <a:br>
              <a:rPr lang="ru-RU" sz="12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2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наблюдательного совета Госкорпорации «Росатом»</a:t>
            </a:r>
            <a:endParaRPr lang="ru-RU" sz="1200" dirty="0">
              <a:solidFill>
                <a:srgbClr val="414142"/>
              </a:solidFill>
              <a:latin typeface="Arial"/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1609" y="1185976"/>
            <a:ext cx="1521499" cy="1485686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631" y="1182052"/>
            <a:ext cx="1497358" cy="1487687"/>
          </a:xfrm>
          <a:prstGeom prst="rect">
            <a:avLst/>
          </a:prstGeom>
        </p:spPr>
      </p:pic>
      <p:sp>
        <p:nvSpPr>
          <p:cNvPr id="58" name="Прямоугольник 57"/>
          <p:cNvSpPr/>
          <p:nvPr/>
        </p:nvSpPr>
        <p:spPr>
          <a:xfrm>
            <a:off x="1635990" y="1657854"/>
            <a:ext cx="2358381" cy="723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ru-RU" sz="1200" b="1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Лихачев А.Е., </a:t>
            </a:r>
            <a:r>
              <a:rPr lang="ru-RU" sz="12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/>
            </a:r>
            <a:br>
              <a:rPr lang="ru-RU" sz="12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</a:br>
            <a:r>
              <a:rPr lang="ru-RU" sz="1200" dirty="0">
                <a:solidFill>
                  <a:srgbClr val="414142"/>
                </a:solidFill>
                <a:latin typeface="Arial"/>
                <a:ea typeface="Times New Roman" panose="02020603050405020304" pitchFamily="18" charset="0"/>
              </a:rPr>
              <a:t>генеральный директор Госкорпорации «Росатом»</a:t>
            </a:r>
            <a:endParaRPr lang="ru-RU" sz="1200" dirty="0">
              <a:solidFill>
                <a:srgbClr val="414142"/>
              </a:solidFill>
              <a:latin typeface="Arial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4254996" y="790502"/>
            <a:ext cx="487876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cs typeface="Times New Roman" panose="02020603050405020304" pitchFamily="18" charset="0"/>
              </a:rPr>
              <a:t>2019. </a:t>
            </a:r>
            <a:r>
              <a:rPr lang="ru-RU" sz="1400" b="1" dirty="0">
                <a:solidFill>
                  <a:srgbClr val="7CBF33"/>
                </a:solidFill>
                <a:cs typeface="Times New Roman" panose="02020603050405020304" pitchFamily="18" charset="0"/>
              </a:rPr>
              <a:t>ОБРАЗЦЫ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cs typeface="Times New Roman" panose="02020603050405020304" pitchFamily="18" charset="0"/>
              </a:rPr>
              <a:t> </a:t>
            </a:r>
            <a:r>
              <a:rPr lang="ru-RU" sz="1400" b="1" dirty="0">
                <a:cs typeface="Times New Roman" panose="02020603050405020304" pitchFamily="18" charset="0"/>
              </a:rPr>
              <a:t>в социальной сфере</a:t>
            </a:r>
            <a:endParaRPr lang="ru-RU" sz="1400" b="1" dirty="0"/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4222263" y="727307"/>
            <a:ext cx="0" cy="4032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/>
          <p:cNvSpPr/>
          <p:nvPr/>
        </p:nvSpPr>
        <p:spPr>
          <a:xfrm>
            <a:off x="69367" y="3952318"/>
            <a:ext cx="418562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dirty="0">
                <a:solidFill>
                  <a:srgbClr val="808080">
                    <a:lumMod val="50000"/>
                  </a:srgbClr>
                </a:solidFill>
              </a:rPr>
              <a:t>«О </a:t>
            </a:r>
            <a:r>
              <a:rPr lang="ru-RU" sz="1200" b="1" dirty="0">
                <a:solidFill>
                  <a:srgbClr val="7CBF33"/>
                </a:solidFill>
              </a:rPr>
              <a:t>СОЗДАНИИ</a:t>
            </a:r>
            <a:r>
              <a:rPr lang="ru-RU" sz="1200" b="1" dirty="0"/>
              <a:t> </a:t>
            </a:r>
            <a:r>
              <a:rPr lang="ru-RU" sz="1200" b="1" dirty="0">
                <a:solidFill>
                  <a:srgbClr val="7CBF33"/>
                </a:solidFill>
              </a:rPr>
              <a:t>ОБРАЗЦОВ</a:t>
            </a:r>
            <a:r>
              <a:rPr lang="ru-RU" sz="1200" b="1" dirty="0"/>
              <a:t> </a:t>
            </a:r>
            <a:r>
              <a:rPr lang="ru-RU" sz="1200" dirty="0"/>
              <a:t>в потоках ключевых продуктов </a:t>
            </a:r>
            <a:r>
              <a:rPr lang="ru-RU" sz="1200" dirty="0">
                <a:solidFill>
                  <a:srgbClr val="808080">
                    <a:lumMod val="50000"/>
                  </a:srgbClr>
                </a:solidFill>
              </a:rPr>
              <a:t>организаций ГК «Росатом», соответствующих лучшим мировым практикам в области организации производства»</a:t>
            </a:r>
          </a:p>
        </p:txBody>
      </p:sp>
      <p:sp>
        <p:nvSpPr>
          <p:cNvPr id="62" name="Стрелка вправо 61"/>
          <p:cNvSpPr/>
          <p:nvPr/>
        </p:nvSpPr>
        <p:spPr>
          <a:xfrm>
            <a:off x="3951266" y="2454189"/>
            <a:ext cx="431698" cy="576064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8" name="TextBox 17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15</a:t>
            </a:r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195566" y="4896506"/>
            <a:ext cx="707245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Проект ЦЗН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Стрелка вниз 19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388259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E6F0A269-F672-4D1F-923B-09D3A7765803}"/>
              </a:ext>
            </a:extLst>
          </p:cNvPr>
          <p:cNvSpPr/>
          <p:nvPr/>
        </p:nvSpPr>
        <p:spPr>
          <a:xfrm>
            <a:off x="1220528" y="783617"/>
            <a:ext cx="6549361" cy="3695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ородская область – Служба занятости населения области</a:t>
            </a:r>
          </a:p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r>
              <a:rPr lang="ru-RU" sz="901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-2019 гг. – от пилотного проекта до образца федерального уровня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CAB49541-4064-43BF-BF8F-BB927CDA9440}"/>
              </a:ext>
            </a:extLst>
          </p:cNvPr>
          <p:cNvGrpSpPr/>
          <p:nvPr/>
        </p:nvGrpSpPr>
        <p:grpSpPr>
          <a:xfrm>
            <a:off x="1287925" y="4162100"/>
            <a:ext cx="6496461" cy="470160"/>
            <a:chOff x="3085462" y="4199038"/>
            <a:chExt cx="9229759" cy="774416"/>
          </a:xfrm>
        </p:grpSpPr>
        <p:sp>
          <p:nvSpPr>
            <p:cNvPr id="6" name="Пятиугольник 45">
              <a:extLst>
                <a:ext uri="{FF2B5EF4-FFF2-40B4-BE49-F238E27FC236}">
                  <a16:creationId xmlns:a16="http://schemas.microsoft.com/office/drawing/2014/main" xmlns="" id="{95248A59-7BEE-4FA2-810E-03880F040996}"/>
                </a:ext>
              </a:extLst>
            </p:cNvPr>
            <p:cNvSpPr/>
            <p:nvPr/>
          </p:nvSpPr>
          <p:spPr>
            <a:xfrm>
              <a:off x="3085462" y="4199038"/>
              <a:ext cx="9229759" cy="320861"/>
            </a:xfrm>
            <a:prstGeom prst="homePlate">
              <a:avLst/>
            </a:prstGeom>
            <a:gradFill flip="none" rotWithShape="1">
              <a:gsLst>
                <a:gs pos="0">
                  <a:srgbClr val="3E62A2">
                    <a:shade val="30000"/>
                    <a:satMod val="115000"/>
                  </a:srgbClr>
                </a:gs>
                <a:gs pos="2000">
                  <a:srgbClr val="3E62A2">
                    <a:shade val="67500"/>
                    <a:satMod val="115000"/>
                  </a:srgbClr>
                </a:gs>
                <a:gs pos="96000">
                  <a:sysClr val="window" lastClr="FFFFFF"/>
                </a:gs>
              </a:gsLst>
              <a:lin ang="10800000" scaled="1"/>
              <a:tileRect/>
            </a:gradFill>
            <a:ln w="12700" cap="flat" cmpd="sng" algn="ctr">
              <a:solidFill>
                <a:srgbClr val="414042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6440">
                <a:defRPr/>
              </a:pPr>
              <a:endParaRPr lang="ru-RU" sz="788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Line">
              <a:extLst>
                <a:ext uri="{FF2B5EF4-FFF2-40B4-BE49-F238E27FC236}">
                  <a16:creationId xmlns:a16="http://schemas.microsoft.com/office/drawing/2014/main" xmlns="" id="{CC64BB50-45EF-4F89-A90E-492E34961697}"/>
                </a:ext>
              </a:extLst>
            </p:cNvPr>
            <p:cNvSpPr/>
            <p:nvPr/>
          </p:nvSpPr>
          <p:spPr>
            <a:xfrm flipV="1">
              <a:off x="3278764" y="4940529"/>
              <a:ext cx="8830907" cy="32925"/>
            </a:xfrm>
            <a:prstGeom prst="line">
              <a:avLst/>
            </a:prstGeom>
            <a:ln w="38100">
              <a:solidFill>
                <a:srgbClr val="414042">
                  <a:lumMod val="60000"/>
                  <a:lumOff val="40000"/>
                </a:srgbClr>
              </a:solidFill>
              <a:miter/>
              <a:tailEnd type="stealth"/>
            </a:ln>
          </p:spPr>
          <p:txBody>
            <a:bodyPr lIns="34321" rIns="34321"/>
            <a:lstStyle/>
            <a:p>
              <a:pPr defTabSz="686440">
                <a:defRPr/>
              </a:pPr>
              <a:endParaRPr sz="901" ker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DACF3EE-A19C-4171-8FDD-F28189589D71}"/>
              </a:ext>
            </a:extLst>
          </p:cNvPr>
          <p:cNvSpPr txBox="1"/>
          <p:nvPr/>
        </p:nvSpPr>
        <p:spPr>
          <a:xfrm>
            <a:off x="1928979" y="4166830"/>
            <a:ext cx="896965" cy="2194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6440">
              <a:defRPr/>
            </a:pPr>
            <a:r>
              <a:rPr lang="ru-RU" sz="826" kern="0" dirty="0">
                <a:solidFill>
                  <a:srgbClr val="4140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месяцев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B68BD017-7750-4AC4-9629-C0F7083CA1C6}"/>
              </a:ext>
            </a:extLst>
          </p:cNvPr>
          <p:cNvSpPr txBox="1"/>
          <p:nvPr/>
        </p:nvSpPr>
        <p:spPr>
          <a:xfrm>
            <a:off x="3819408" y="4167665"/>
            <a:ext cx="1456648" cy="2194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6440">
              <a:defRPr/>
            </a:pPr>
            <a:r>
              <a:rPr lang="ru-RU" sz="826" kern="0" dirty="0">
                <a:solidFill>
                  <a:srgbClr val="4140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месяцев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D427033-1C13-4728-BE52-4E5AB3AA8A34}"/>
              </a:ext>
            </a:extLst>
          </p:cNvPr>
          <p:cNvSpPr txBox="1"/>
          <p:nvPr/>
        </p:nvSpPr>
        <p:spPr>
          <a:xfrm>
            <a:off x="5754888" y="4161669"/>
            <a:ext cx="1732899" cy="2194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6440">
              <a:defRPr/>
            </a:pPr>
            <a:r>
              <a:rPr lang="ru-RU" sz="826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 год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B8778591-FD06-40A4-B76E-585995122C0C}"/>
              </a:ext>
            </a:extLst>
          </p:cNvPr>
          <p:cNvSpPr/>
          <p:nvPr/>
        </p:nvSpPr>
        <p:spPr>
          <a:xfrm>
            <a:off x="3721507" y="1308699"/>
            <a:ext cx="1666207" cy="508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6440">
              <a:defRPr/>
            </a:pPr>
            <a:r>
              <a:rPr lang="ru-RU" sz="901" b="1" kern="0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ражирование</a:t>
            </a:r>
            <a:r>
              <a:rPr lang="ru-RU" sz="901" kern="0" dirty="0">
                <a:solidFill>
                  <a:srgbClr val="41404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br>
              <a:rPr lang="ru-RU" sz="901" kern="0" dirty="0">
                <a:solidFill>
                  <a:srgbClr val="41404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901" kern="0" dirty="0">
                <a:solidFill>
                  <a:srgbClr val="41404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23 центра занятости области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195CF9BE-84E9-4736-A679-9B0EB7574CAE}"/>
              </a:ext>
            </a:extLst>
          </p:cNvPr>
          <p:cNvSpPr/>
          <p:nvPr/>
        </p:nvSpPr>
        <p:spPr>
          <a:xfrm>
            <a:off x="1178543" y="1316754"/>
            <a:ext cx="2317982" cy="508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6440"/>
            <a:r>
              <a:rPr lang="ru-RU" sz="901" b="1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ервый проект по улучшению в ЦЗН </a:t>
            </a:r>
            <a:r>
              <a:rPr lang="ru-RU" sz="901" dirty="0">
                <a:solidFill>
                  <a:srgbClr val="41404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Оптимизация процесса первичного приема граждан»</a:t>
            </a:r>
          </a:p>
        </p:txBody>
      </p:sp>
      <p:sp>
        <p:nvSpPr>
          <p:cNvPr id="13" name="Circle">
            <a:extLst>
              <a:ext uri="{FF2B5EF4-FFF2-40B4-BE49-F238E27FC236}">
                <a16:creationId xmlns:a16="http://schemas.microsoft.com/office/drawing/2014/main" xmlns="" id="{39FE115A-14E7-488B-9F82-161B472B70FA}"/>
              </a:ext>
            </a:extLst>
          </p:cNvPr>
          <p:cNvSpPr/>
          <p:nvPr/>
        </p:nvSpPr>
        <p:spPr>
          <a:xfrm>
            <a:off x="5468803" y="4573173"/>
            <a:ext cx="94569" cy="92856"/>
          </a:xfrm>
          <a:prstGeom prst="ellipse">
            <a:avLst/>
          </a:prstGeom>
          <a:solidFill>
            <a:sysClr val="window" lastClr="FFFFFF"/>
          </a:solidFill>
          <a:ln w="38100">
            <a:solidFill>
              <a:srgbClr val="414042">
                <a:lumMod val="60000"/>
                <a:lumOff val="40000"/>
              </a:srgbClr>
            </a:solidFill>
            <a:miter lim="400000"/>
          </a:ln>
        </p:spPr>
        <p:txBody>
          <a:bodyPr lIns="34321" rIns="34321" anchor="ctr"/>
          <a:lstStyle/>
          <a:p>
            <a:pPr defTabSz="686440">
              <a:defRPr/>
            </a:pPr>
            <a:endParaRPr sz="901" kern="0">
              <a:solidFill>
                <a:srgbClr val="0099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8834AE62-2FF1-42CF-8507-0601F20ADF64}"/>
              </a:ext>
            </a:extLst>
          </p:cNvPr>
          <p:cNvCxnSpPr/>
          <p:nvPr/>
        </p:nvCxnSpPr>
        <p:spPr>
          <a:xfrm>
            <a:off x="3555115" y="1706516"/>
            <a:ext cx="0" cy="2648450"/>
          </a:xfrm>
          <a:prstGeom prst="line">
            <a:avLst/>
          </a:prstGeom>
          <a:noFill/>
          <a:ln w="6350" cap="flat" cmpd="sng" algn="ctr">
            <a:solidFill>
              <a:srgbClr val="E7E6E6">
                <a:lumMod val="10000"/>
              </a:srgbClr>
            </a:solidFill>
            <a:prstDash val="solid"/>
            <a:miter lim="800000"/>
          </a:ln>
          <a:effectLst/>
        </p:spPr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2367E14C-D281-4AB0-9F68-41C4F20B37A8}"/>
              </a:ext>
            </a:extLst>
          </p:cNvPr>
          <p:cNvCxnSpPr/>
          <p:nvPr/>
        </p:nvCxnSpPr>
        <p:spPr>
          <a:xfrm>
            <a:off x="5505964" y="1733541"/>
            <a:ext cx="0" cy="2621425"/>
          </a:xfrm>
          <a:prstGeom prst="line">
            <a:avLst/>
          </a:prstGeom>
          <a:noFill/>
          <a:ln w="6350" cap="flat" cmpd="sng" algn="ctr">
            <a:solidFill>
              <a:srgbClr val="E7E6E6">
                <a:lumMod val="10000"/>
              </a:srgbClr>
            </a:solidFill>
            <a:prstDash val="solid"/>
            <a:miter lim="800000"/>
          </a:ln>
          <a:effectLst/>
        </p:spPr>
      </p:cxnSp>
      <p:sp>
        <p:nvSpPr>
          <p:cNvPr id="16" name="Стрелка вверх 40">
            <a:extLst>
              <a:ext uri="{FF2B5EF4-FFF2-40B4-BE49-F238E27FC236}">
                <a16:creationId xmlns:a16="http://schemas.microsoft.com/office/drawing/2014/main" xmlns="" id="{0A1E0F28-6960-4686-92E8-82DBFE330098}"/>
              </a:ext>
            </a:extLst>
          </p:cNvPr>
          <p:cNvSpPr/>
          <p:nvPr/>
        </p:nvSpPr>
        <p:spPr>
          <a:xfrm rot="5400000">
            <a:off x="3444544" y="1374773"/>
            <a:ext cx="297444" cy="217501"/>
          </a:xfrm>
          <a:prstGeom prst="upArrow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6440">
              <a:defRPr/>
            </a:pPr>
            <a:endParaRPr lang="ru-RU" sz="901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1144D8D2-455C-4C81-B153-AAECE365D5DF}"/>
              </a:ext>
            </a:extLst>
          </p:cNvPr>
          <p:cNvSpPr/>
          <p:nvPr/>
        </p:nvSpPr>
        <p:spPr>
          <a:xfrm>
            <a:off x="5601069" y="1292911"/>
            <a:ext cx="2318253" cy="230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6440">
              <a:defRPr/>
            </a:pPr>
            <a:r>
              <a:rPr lang="ru-RU" sz="901" b="1" kern="0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ец лучшей практики РФ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458A0C2D-85D0-413F-B450-5C4BB2774EFE}"/>
              </a:ext>
            </a:extLst>
          </p:cNvPr>
          <p:cNvSpPr txBox="1"/>
          <p:nvPr/>
        </p:nvSpPr>
        <p:spPr>
          <a:xfrm>
            <a:off x="1150807" y="4423235"/>
            <a:ext cx="896965" cy="2194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6440">
              <a:defRPr/>
            </a:pPr>
            <a:r>
              <a:rPr lang="ru-RU" sz="826" kern="0" dirty="0">
                <a:solidFill>
                  <a:srgbClr val="4140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.2018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F3B4D861-3B90-4766-BF5F-1A7B81C2C494}"/>
              </a:ext>
            </a:extLst>
          </p:cNvPr>
          <p:cNvSpPr txBox="1"/>
          <p:nvPr/>
        </p:nvSpPr>
        <p:spPr>
          <a:xfrm>
            <a:off x="3191272" y="4406573"/>
            <a:ext cx="896965" cy="2194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6440">
              <a:defRPr/>
            </a:pPr>
            <a:r>
              <a:rPr lang="ru-RU" sz="826" kern="0" dirty="0">
                <a:solidFill>
                  <a:srgbClr val="4140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8.2018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855D286-DFEC-4394-B878-17410A3D4C77}"/>
              </a:ext>
            </a:extLst>
          </p:cNvPr>
          <p:cNvSpPr txBox="1"/>
          <p:nvPr/>
        </p:nvSpPr>
        <p:spPr>
          <a:xfrm>
            <a:off x="5061756" y="4400308"/>
            <a:ext cx="896965" cy="2194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6440">
              <a:defRPr/>
            </a:pPr>
            <a:r>
              <a:rPr lang="ru-RU" sz="826" kern="0" dirty="0">
                <a:solidFill>
                  <a:srgbClr val="4140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2019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C767873B-3DF0-4D20-BB0B-D2199F25197D}"/>
              </a:ext>
            </a:extLst>
          </p:cNvPr>
          <p:cNvSpPr txBox="1"/>
          <p:nvPr/>
        </p:nvSpPr>
        <p:spPr>
          <a:xfrm>
            <a:off x="6887430" y="4386820"/>
            <a:ext cx="896965" cy="2194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6440">
              <a:defRPr/>
            </a:pPr>
            <a:r>
              <a:rPr lang="ru-RU" sz="826" kern="0" dirty="0">
                <a:solidFill>
                  <a:srgbClr val="4140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.2019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BA4502A7-35BC-4565-AAE5-63D86982580D}"/>
              </a:ext>
            </a:extLst>
          </p:cNvPr>
          <p:cNvSpPr/>
          <p:nvPr/>
        </p:nvSpPr>
        <p:spPr>
          <a:xfrm>
            <a:off x="5544940" y="1946753"/>
            <a:ext cx="2323399" cy="6468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6440">
              <a:defRPr/>
            </a:pPr>
            <a:endParaRPr lang="ru-RU" sz="901" kern="0" dirty="0">
              <a:solidFill>
                <a:srgbClr val="414042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686440">
              <a:defRPr/>
            </a:pPr>
            <a:r>
              <a:rPr lang="ru-RU" sz="901" kern="0" dirty="0">
                <a:solidFill>
                  <a:srgbClr val="41404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изнание ФОИВом как </a:t>
            </a:r>
            <a:r>
              <a:rPr lang="ru-RU" sz="901" b="1" kern="0" dirty="0">
                <a:solidFill>
                  <a:srgbClr val="4596D1">
                    <a:lumMod val="7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едерального </a:t>
            </a:r>
            <a:r>
              <a:rPr lang="ru-RU" sz="901" b="1" kern="0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разца первого этапа ЦЗН 2.0</a:t>
            </a:r>
            <a:endParaRPr lang="ru-RU" sz="901" b="1" kern="0" dirty="0">
              <a:solidFill>
                <a:srgbClr val="5B9BD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" descr="W:\ФОТО\РОСАТОМ\Команда проекта\P1120485.JPG">
            <a:extLst>
              <a:ext uri="{FF2B5EF4-FFF2-40B4-BE49-F238E27FC236}">
                <a16:creationId xmlns:a16="http://schemas.microsoft.com/office/drawing/2014/main" xmlns="" id="{DF56EA63-2ACB-4FE1-8131-1039AD892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02166" y="3280346"/>
            <a:ext cx="1134484" cy="801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D2FC0F1F-8E88-4BEA-80B2-F11EB8035A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1347" y="1959653"/>
            <a:ext cx="1804356" cy="658752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A8ECDE40-13EB-46EF-B44A-29288CDD5D5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3658" y="3287759"/>
            <a:ext cx="1426072" cy="801198"/>
          </a:xfrm>
          <a:prstGeom prst="rect">
            <a:avLst/>
          </a:prstGeom>
        </p:spPr>
      </p:pic>
      <p:sp>
        <p:nvSpPr>
          <p:cNvPr id="26" name="Circle">
            <a:extLst>
              <a:ext uri="{FF2B5EF4-FFF2-40B4-BE49-F238E27FC236}">
                <a16:creationId xmlns:a16="http://schemas.microsoft.com/office/drawing/2014/main" xmlns="" id="{25B61FAC-397D-4CBF-8C7C-4047D947BE36}"/>
              </a:ext>
            </a:extLst>
          </p:cNvPr>
          <p:cNvSpPr/>
          <p:nvPr/>
        </p:nvSpPr>
        <p:spPr>
          <a:xfrm>
            <a:off x="1365049" y="4588109"/>
            <a:ext cx="94569" cy="92856"/>
          </a:xfrm>
          <a:prstGeom prst="ellipse">
            <a:avLst/>
          </a:prstGeom>
          <a:solidFill>
            <a:sysClr val="window" lastClr="FFFFFF"/>
          </a:solidFill>
          <a:ln w="38100">
            <a:solidFill>
              <a:srgbClr val="414042">
                <a:lumMod val="60000"/>
                <a:lumOff val="40000"/>
              </a:srgbClr>
            </a:solidFill>
            <a:miter lim="400000"/>
          </a:ln>
        </p:spPr>
        <p:txBody>
          <a:bodyPr lIns="34321" rIns="34321" anchor="ctr"/>
          <a:lstStyle/>
          <a:p>
            <a:pPr defTabSz="686440">
              <a:defRPr/>
            </a:pPr>
            <a:endParaRPr sz="901" kern="0">
              <a:solidFill>
                <a:srgbClr val="0099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099FE78F-6779-4CC7-B8D4-818C4A57D80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0760" y="3283960"/>
            <a:ext cx="1285146" cy="808799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D16EA626-1E7F-40B4-BBA4-ABDB6C26FA6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328" y="3283959"/>
            <a:ext cx="1052994" cy="808798"/>
          </a:xfrm>
          <a:prstGeom prst="rect">
            <a:avLst/>
          </a:prstGeom>
        </p:spPr>
      </p:pic>
      <p:sp>
        <p:nvSpPr>
          <p:cNvPr id="29" name="Circle">
            <a:extLst>
              <a:ext uri="{FF2B5EF4-FFF2-40B4-BE49-F238E27FC236}">
                <a16:creationId xmlns:a16="http://schemas.microsoft.com/office/drawing/2014/main" xmlns="" id="{3B2D061B-6261-49A7-97D2-6F2F675663AE}"/>
              </a:ext>
            </a:extLst>
          </p:cNvPr>
          <p:cNvSpPr/>
          <p:nvPr/>
        </p:nvSpPr>
        <p:spPr>
          <a:xfrm>
            <a:off x="3642580" y="4585833"/>
            <a:ext cx="94569" cy="92856"/>
          </a:xfrm>
          <a:prstGeom prst="ellipse">
            <a:avLst/>
          </a:prstGeom>
          <a:solidFill>
            <a:sysClr val="window" lastClr="FFFFFF"/>
          </a:solidFill>
          <a:ln w="38100">
            <a:solidFill>
              <a:srgbClr val="414042">
                <a:lumMod val="60000"/>
                <a:lumOff val="40000"/>
              </a:srgbClr>
            </a:solidFill>
            <a:miter lim="400000"/>
          </a:ln>
        </p:spPr>
        <p:txBody>
          <a:bodyPr lIns="34321" rIns="34321" anchor="ctr"/>
          <a:lstStyle/>
          <a:p>
            <a:pPr defTabSz="686440">
              <a:defRPr/>
            </a:pPr>
            <a:endParaRPr sz="901" kern="0">
              <a:solidFill>
                <a:srgbClr val="0099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ircle">
            <a:extLst>
              <a:ext uri="{FF2B5EF4-FFF2-40B4-BE49-F238E27FC236}">
                <a16:creationId xmlns:a16="http://schemas.microsoft.com/office/drawing/2014/main" xmlns="" id="{3D61C76C-C092-4A2F-9622-C7E183CF71CB}"/>
              </a:ext>
            </a:extLst>
          </p:cNvPr>
          <p:cNvSpPr/>
          <p:nvPr/>
        </p:nvSpPr>
        <p:spPr>
          <a:xfrm>
            <a:off x="7318902" y="4565844"/>
            <a:ext cx="94569" cy="92856"/>
          </a:xfrm>
          <a:prstGeom prst="ellipse">
            <a:avLst/>
          </a:prstGeom>
          <a:solidFill>
            <a:sysClr val="window" lastClr="FFFFFF"/>
          </a:solidFill>
          <a:ln w="38100">
            <a:solidFill>
              <a:srgbClr val="414042">
                <a:lumMod val="60000"/>
                <a:lumOff val="40000"/>
              </a:srgbClr>
            </a:solidFill>
            <a:miter lim="400000"/>
          </a:ln>
        </p:spPr>
        <p:txBody>
          <a:bodyPr lIns="34321" rIns="34321" anchor="ctr"/>
          <a:lstStyle/>
          <a:p>
            <a:pPr defTabSz="686440">
              <a:defRPr/>
            </a:pPr>
            <a:endParaRPr sz="901" kern="0">
              <a:solidFill>
                <a:srgbClr val="0099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Стрелка вверх 40">
            <a:extLst>
              <a:ext uri="{FF2B5EF4-FFF2-40B4-BE49-F238E27FC236}">
                <a16:creationId xmlns:a16="http://schemas.microsoft.com/office/drawing/2014/main" xmlns="" id="{0CF7C449-2C4A-4B04-9EE1-2FD3C65604A2}"/>
              </a:ext>
            </a:extLst>
          </p:cNvPr>
          <p:cNvSpPr/>
          <p:nvPr/>
        </p:nvSpPr>
        <p:spPr>
          <a:xfrm rot="5400000">
            <a:off x="5357244" y="1362399"/>
            <a:ext cx="297444" cy="217501"/>
          </a:xfrm>
          <a:prstGeom prst="upArrow">
            <a:avLst/>
          </a:prstGeom>
          <a:solidFill>
            <a:srgbClr val="5B9BD5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6440">
              <a:defRPr/>
            </a:pPr>
            <a:endParaRPr lang="ru-RU" sz="901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Picture 11" descr="X:\ФОТО\РОСАТОМ\01.08.2018\IMG_1598.JPG">
            <a:extLst>
              <a:ext uri="{FF2B5EF4-FFF2-40B4-BE49-F238E27FC236}">
                <a16:creationId xmlns:a16="http://schemas.microsoft.com/office/drawing/2014/main" xmlns="" id="{41B1EB48-4C2E-49EA-96B9-6752B06782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70474" y="3286749"/>
            <a:ext cx="1085058" cy="806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3" name="Диаграмма 32">
            <a:extLst>
              <a:ext uri="{FF2B5EF4-FFF2-40B4-BE49-F238E27FC236}">
                <a16:creationId xmlns:a16="http://schemas.microsoft.com/office/drawing/2014/main" xmlns="" id="{88B93658-8654-4C1F-AC7C-D4F21357C0FD}"/>
              </a:ext>
            </a:extLst>
          </p:cNvPr>
          <p:cNvGraphicFramePr/>
          <p:nvPr/>
        </p:nvGraphicFramePr>
        <p:xfrm>
          <a:off x="1166238" y="2113215"/>
          <a:ext cx="1618513" cy="8845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xmlns="" id="{6DB76334-C336-402D-AEE2-AC212A408BB5}"/>
              </a:ext>
            </a:extLst>
          </p:cNvPr>
          <p:cNvGraphicFramePr>
            <a:graphicFrameLocks noGrp="1"/>
          </p:cNvGraphicFramePr>
          <p:nvPr/>
        </p:nvGraphicFramePr>
        <p:xfrm>
          <a:off x="1254498" y="3001432"/>
          <a:ext cx="1500054" cy="173402"/>
        </p:xfrm>
        <a:graphic>
          <a:graphicData uri="http://schemas.openxmlformats.org/drawingml/2006/table">
            <a:tbl>
              <a:tblPr firstRow="1" bandRow="1"/>
              <a:tblGrid>
                <a:gridCol w="50001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0001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0001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658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800" b="1" dirty="0">
                          <a:solidFill>
                            <a:sysClr val="windowText" lastClr="000000"/>
                          </a:solidFill>
                        </a:rPr>
                        <a:t>было</a:t>
                      </a:r>
                    </a:p>
                  </a:txBody>
                  <a:tcPr marL="51483" marR="51483" marT="25741" marB="2574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800" b="1" dirty="0">
                          <a:solidFill>
                            <a:sysClr val="windowText" lastClr="000000"/>
                          </a:solidFill>
                        </a:rPr>
                        <a:t>цель</a:t>
                      </a:r>
                    </a:p>
                  </a:txBody>
                  <a:tcPr marL="51483" marR="51483" marT="25741" marB="2574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800" b="1" dirty="0">
                          <a:solidFill>
                            <a:sysClr val="windowText" lastClr="000000"/>
                          </a:solidFill>
                        </a:rPr>
                        <a:t>стало</a:t>
                      </a:r>
                    </a:p>
                  </a:txBody>
                  <a:tcPr marL="51483" marR="51483" marT="25741" marB="2574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DE0C379C-0AD6-4401-A0B8-A9772F3743D4}"/>
              </a:ext>
            </a:extLst>
          </p:cNvPr>
          <p:cNvSpPr/>
          <p:nvPr/>
        </p:nvSpPr>
        <p:spPr>
          <a:xfrm>
            <a:off x="1275661" y="1919464"/>
            <a:ext cx="1442019" cy="508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6440">
              <a:defRPr/>
            </a:pPr>
            <a:r>
              <a:rPr lang="ru-RU" sz="901" b="1" kern="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е время первичного приема граждан, </a:t>
            </a:r>
            <a:r>
              <a:rPr lang="ru-RU" sz="901" kern="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</a:t>
            </a:r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xmlns="" id="{C3884361-A053-4856-8077-FDCB6E73C873}"/>
              </a:ext>
            </a:extLst>
          </p:cNvPr>
          <p:cNvCxnSpPr/>
          <p:nvPr/>
        </p:nvCxnSpPr>
        <p:spPr>
          <a:xfrm>
            <a:off x="1382456" y="2570227"/>
            <a:ext cx="973008" cy="0"/>
          </a:xfrm>
          <a:prstGeom prst="line">
            <a:avLst/>
          </a:prstGeom>
          <a:noFill/>
          <a:ln w="3175" cap="flat" cmpd="sng" algn="ctr">
            <a:solidFill>
              <a:srgbClr val="808080">
                <a:lumMod val="75000"/>
              </a:srgbClr>
            </a:solidFill>
            <a:prstDash val="solid"/>
          </a:ln>
          <a:effectLst/>
        </p:spPr>
      </p:cxnSp>
      <p:cxnSp>
        <p:nvCxnSpPr>
          <p:cNvPr id="37" name="Прямая со стрелкой 36">
            <a:extLst>
              <a:ext uri="{FF2B5EF4-FFF2-40B4-BE49-F238E27FC236}">
                <a16:creationId xmlns:a16="http://schemas.microsoft.com/office/drawing/2014/main" xmlns="" id="{A94F92B7-D5FC-4198-93C6-A7A3202C743A}"/>
              </a:ext>
            </a:extLst>
          </p:cNvPr>
          <p:cNvCxnSpPr/>
          <p:nvPr/>
        </p:nvCxnSpPr>
        <p:spPr>
          <a:xfrm>
            <a:off x="2355464" y="2570227"/>
            <a:ext cx="0" cy="324336"/>
          </a:xfrm>
          <a:prstGeom prst="straightConnector1">
            <a:avLst/>
          </a:prstGeom>
          <a:noFill/>
          <a:ln w="3175" cap="flat" cmpd="sng" algn="ctr">
            <a:solidFill>
              <a:srgbClr val="808080">
                <a:lumMod val="75000"/>
              </a:srgbClr>
            </a:solidFill>
            <a:prstDash val="solid"/>
            <a:tailEnd type="triangle"/>
          </a:ln>
          <a:effectLst/>
        </p:spPr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0D6A9950-E310-44F6-AA34-4FEAEF9239D6}"/>
              </a:ext>
            </a:extLst>
          </p:cNvPr>
          <p:cNvSpPr/>
          <p:nvPr/>
        </p:nvSpPr>
        <p:spPr>
          <a:xfrm>
            <a:off x="1884753" y="2382184"/>
            <a:ext cx="626004" cy="3348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6440">
              <a:defRPr/>
            </a:pPr>
            <a:r>
              <a:rPr lang="ru-RU" sz="788" b="1" kern="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4,6 раза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DDE631DE-6DA8-410E-9F1B-AE0939DECFEA}"/>
              </a:ext>
            </a:extLst>
          </p:cNvPr>
          <p:cNvSpPr/>
          <p:nvPr/>
        </p:nvSpPr>
        <p:spPr>
          <a:xfrm>
            <a:off x="2685622" y="2013871"/>
            <a:ext cx="868651" cy="3695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6440">
              <a:defRPr/>
            </a:pPr>
            <a:r>
              <a:rPr lang="ru-RU" sz="901" b="1" kern="0" dirty="0">
                <a:solidFill>
                  <a:srgbClr val="C855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</a:t>
            </a:r>
            <a:r>
              <a:rPr lang="ru-RU" sz="901" kern="0" dirty="0">
                <a:solidFill>
                  <a:srgbClr val="C855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писей </a:t>
            </a:r>
            <a:br>
              <a:rPr lang="ru-RU" sz="901" kern="0" dirty="0">
                <a:solidFill>
                  <a:srgbClr val="C855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1" kern="0" dirty="0">
                <a:solidFill>
                  <a:srgbClr val="C855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дат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85CFCDE4-3A1A-4D35-A18F-6E6EBEA94503}"/>
              </a:ext>
            </a:extLst>
          </p:cNvPr>
          <p:cNvSpPr/>
          <p:nvPr/>
        </p:nvSpPr>
        <p:spPr>
          <a:xfrm>
            <a:off x="2730325" y="2594782"/>
            <a:ext cx="754190" cy="3695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6440">
              <a:defRPr/>
            </a:pPr>
            <a:r>
              <a:rPr lang="ru-RU" sz="901" b="1" kern="0" dirty="0">
                <a:solidFill>
                  <a:srgbClr val="6194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901" kern="0" dirty="0">
                <a:solidFill>
                  <a:srgbClr val="6194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пись </a:t>
            </a:r>
            <a:br>
              <a:rPr lang="ru-RU" sz="901" kern="0" dirty="0">
                <a:solidFill>
                  <a:srgbClr val="619428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1" kern="0" dirty="0">
                <a:solidFill>
                  <a:srgbClr val="6194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дата</a:t>
            </a:r>
          </a:p>
        </p:txBody>
      </p:sp>
      <p:sp>
        <p:nvSpPr>
          <p:cNvPr id="41" name="Стрелка вверх 40">
            <a:extLst>
              <a:ext uri="{FF2B5EF4-FFF2-40B4-BE49-F238E27FC236}">
                <a16:creationId xmlns:a16="http://schemas.microsoft.com/office/drawing/2014/main" xmlns="" id="{C1125002-CABA-4461-BD84-2763BC6C9997}"/>
              </a:ext>
            </a:extLst>
          </p:cNvPr>
          <p:cNvSpPr/>
          <p:nvPr/>
        </p:nvSpPr>
        <p:spPr>
          <a:xfrm rot="10800000">
            <a:off x="3024945" y="2429909"/>
            <a:ext cx="190007" cy="141591"/>
          </a:xfrm>
          <a:prstGeom prst="upArrow">
            <a:avLst/>
          </a:prstGeom>
          <a:solidFill>
            <a:srgbClr val="70AD47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6440">
              <a:defRPr/>
            </a:pPr>
            <a:endParaRPr lang="ru-RU" sz="901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30ED2E6D-E74D-4AB4-B0AC-65E7A5FC45C6}"/>
              </a:ext>
            </a:extLst>
          </p:cNvPr>
          <p:cNvSpPr/>
          <p:nvPr/>
        </p:nvSpPr>
        <p:spPr>
          <a:xfrm>
            <a:off x="3608986" y="2698554"/>
            <a:ext cx="1925527" cy="23096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6440">
              <a:defRPr/>
            </a:pPr>
            <a:r>
              <a:rPr lang="ru-RU" sz="901" kern="0" dirty="0">
                <a:solidFill>
                  <a:srgbClr val="4140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овано более 70 проектов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56705F19-BF3F-434A-B9F2-D1802FFFC941}"/>
              </a:ext>
            </a:extLst>
          </p:cNvPr>
          <p:cNvSpPr/>
          <p:nvPr/>
        </p:nvSpPr>
        <p:spPr>
          <a:xfrm>
            <a:off x="5563373" y="1493854"/>
            <a:ext cx="2430508" cy="3695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6440">
              <a:defRPr/>
            </a:pPr>
            <a:r>
              <a:rPr lang="ru-RU" sz="901" kern="0" dirty="0">
                <a:solidFill>
                  <a:srgbClr val="4140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треча Обозова С.А. с Иванковым М.Ю., руководителем Роструда</a:t>
            </a:r>
          </a:p>
        </p:txBody>
      </p:sp>
      <p:sp>
        <p:nvSpPr>
          <p:cNvPr id="45" name="Заголовок 1"/>
          <p:cNvSpPr txBox="1">
            <a:spLocks/>
          </p:cNvSpPr>
          <p:nvPr/>
        </p:nvSpPr>
        <p:spPr bwMode="auto">
          <a:xfrm>
            <a:off x="561508" y="-19698"/>
            <a:ext cx="5621825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4322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68644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02966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372880" algn="l" rtl="0" fontAlgn="base">
              <a:spcBef>
                <a:spcPct val="0"/>
              </a:spcBef>
              <a:spcAft>
                <a:spcPct val="0"/>
              </a:spcAft>
              <a:defRPr sz="1501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241390" algn="l"/>
              </a:tabLst>
              <a:defRPr/>
            </a:pPr>
            <a:r>
              <a:rPr kumimoji="0" lang="ru-RU" sz="1501" b="1" i="0" u="none" strike="noStrike" kern="0" cap="none" spc="0" normalizeH="0" baseline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Проект «Эффективный регион» </a:t>
            </a:r>
            <a:br>
              <a:rPr kumimoji="0" lang="ru-RU" sz="1501" b="1" i="0" u="none" strike="noStrike" kern="0" cap="none" spc="0" normalizeH="0" baseline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ru-RU" sz="1501" b="1" i="0" u="none" strike="noStrike" kern="0" cap="none" spc="0" normalizeH="0" baseline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Примеры стратегии развития пилотных проектов </a:t>
            </a:r>
            <a:endParaRPr kumimoji="0" lang="ru-RU" sz="1501" b="0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16</a:t>
            </a:r>
            <a:endParaRPr lang="ru-RU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195566" y="4896506"/>
            <a:ext cx="827471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Где мы сейчас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7" name="Стрелка вниз 46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1324953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Заголовок 3"/>
          <p:cNvSpPr>
            <a:spLocks noGrp="1"/>
          </p:cNvSpPr>
          <p:nvPr>
            <p:ph type="title"/>
          </p:nvPr>
        </p:nvSpPr>
        <p:spPr>
          <a:xfrm>
            <a:off x="597331" y="80450"/>
            <a:ext cx="4922524" cy="566147"/>
          </a:xfrm>
        </p:spPr>
        <p:txBody>
          <a:bodyPr anchor="ctr"/>
          <a:lstStyle/>
          <a:p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Где мы сейчас? Над чем мы работаем</a:t>
            </a:r>
            <a:endParaRPr lang="ru-RU" altLang="ru-RU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664333" y="1568103"/>
            <a:ext cx="2681126" cy="1348830"/>
          </a:xfrm>
          <a:prstGeom prst="rect">
            <a:avLst/>
          </a:prstGeom>
          <a:solidFill>
            <a:srgbClr val="D2ECB6"/>
          </a:solidFill>
          <a:ln w="571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63" name="Прямоугольник 62"/>
          <p:cNvSpPr/>
          <p:nvPr/>
        </p:nvSpPr>
        <p:spPr>
          <a:xfrm>
            <a:off x="605979" y="754045"/>
            <a:ext cx="2807229" cy="73358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64" name="Прямоугольник 63"/>
          <p:cNvSpPr/>
          <p:nvPr/>
        </p:nvSpPr>
        <p:spPr>
          <a:xfrm>
            <a:off x="6229994" y="747065"/>
            <a:ext cx="2938123" cy="738785"/>
          </a:xfrm>
          <a:prstGeom prst="rect">
            <a:avLst/>
          </a:prstGeom>
          <a:solidFill>
            <a:srgbClr val="EDDC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65" name="Прямоугольник 64"/>
          <p:cNvSpPr/>
          <p:nvPr/>
        </p:nvSpPr>
        <p:spPr>
          <a:xfrm>
            <a:off x="3416391" y="747065"/>
            <a:ext cx="2813600" cy="7387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>
            <a:off x="3403813" y="764169"/>
            <a:ext cx="0" cy="399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Рисунок 6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7382" y="870913"/>
            <a:ext cx="442792" cy="513797"/>
          </a:xfrm>
          <a:prstGeom prst="rect">
            <a:avLst/>
          </a:prstGeom>
        </p:spPr>
      </p:pic>
      <p:sp>
        <p:nvSpPr>
          <p:cNvPr id="68" name="Прямоугольник 67"/>
          <p:cNvSpPr/>
          <p:nvPr/>
        </p:nvSpPr>
        <p:spPr>
          <a:xfrm>
            <a:off x="4360031" y="875571"/>
            <a:ext cx="15212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cs typeface="Times New Roman" panose="02020603050405020304" pitchFamily="18" charset="0"/>
              </a:rPr>
              <a:t>ЭФФЕКТИВНЫЙ </a:t>
            </a:r>
          </a:p>
          <a:p>
            <a:r>
              <a:rPr lang="ru-RU" sz="1200" b="1" dirty="0">
                <a:cs typeface="Times New Roman" panose="02020603050405020304" pitchFamily="18" charset="0"/>
              </a:rPr>
              <a:t>РЕГИОН</a:t>
            </a:r>
            <a:endParaRPr lang="ru-RU" sz="1200" b="1" dirty="0"/>
          </a:p>
        </p:txBody>
      </p:sp>
      <p:sp>
        <p:nvSpPr>
          <p:cNvPr id="69" name="Прямоугольник 68"/>
          <p:cNvSpPr/>
          <p:nvPr/>
        </p:nvSpPr>
        <p:spPr>
          <a:xfrm>
            <a:off x="1673685" y="882741"/>
            <a:ext cx="8936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cs typeface="Times New Roman" panose="02020603050405020304" pitchFamily="18" charset="0"/>
              </a:rPr>
              <a:t>АТОМНАЯ </a:t>
            </a:r>
            <a:br>
              <a:rPr lang="ru-RU" sz="1200" b="1" dirty="0">
                <a:cs typeface="Times New Roman" panose="02020603050405020304" pitchFamily="18" charset="0"/>
              </a:rPr>
            </a:br>
            <a:r>
              <a:rPr lang="ru-RU" sz="1200" b="1" dirty="0">
                <a:cs typeface="Times New Roman" panose="02020603050405020304" pitchFamily="18" charset="0"/>
              </a:rPr>
              <a:t>ОТРАСЛЬ</a:t>
            </a:r>
            <a:endParaRPr lang="ru-RU" sz="1200" b="1" dirty="0"/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9139" y="947647"/>
            <a:ext cx="331366" cy="337616"/>
          </a:xfrm>
          <a:prstGeom prst="rect">
            <a:avLst/>
          </a:prstGeom>
        </p:spPr>
      </p:pic>
      <p:sp>
        <p:nvSpPr>
          <p:cNvPr id="71" name="Прямоугольник 70"/>
          <p:cNvSpPr/>
          <p:nvPr/>
        </p:nvSpPr>
        <p:spPr>
          <a:xfrm>
            <a:off x="6809124" y="793291"/>
            <a:ext cx="23348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cs typeface="Times New Roman" panose="02020603050405020304" pitchFamily="18" charset="0"/>
              </a:rPr>
              <a:t>ПАРТНЕРСТВО ПС РОССИИ</a:t>
            </a:r>
          </a:p>
          <a:p>
            <a:r>
              <a:rPr lang="ru-RU" sz="1200" b="1" dirty="0">
                <a:cs typeface="Times New Roman" panose="02020603050405020304" pitchFamily="18" charset="0"/>
              </a:rPr>
              <a:t>ПРОЕКТ «ПРОИЗВОДИТЕЛЬНОСТЬ»</a:t>
            </a:r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6302" y="877874"/>
            <a:ext cx="482823" cy="482490"/>
          </a:xfrm>
          <a:prstGeom prst="rect">
            <a:avLst/>
          </a:prstGeom>
        </p:spPr>
      </p:pic>
      <p:cxnSp>
        <p:nvCxnSpPr>
          <p:cNvPr id="73" name="Прямая соединительная линия 72"/>
          <p:cNvCxnSpPr/>
          <p:nvPr/>
        </p:nvCxnSpPr>
        <p:spPr>
          <a:xfrm>
            <a:off x="6229991" y="764169"/>
            <a:ext cx="0" cy="4032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/>
          <p:cNvSpPr/>
          <p:nvPr/>
        </p:nvSpPr>
        <p:spPr>
          <a:xfrm>
            <a:off x="3481166" y="1567550"/>
            <a:ext cx="255476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b="1" kern="0" dirty="0"/>
              <a:t>19</a:t>
            </a:r>
            <a:r>
              <a:rPr lang="ru-RU" sz="1200" kern="0" dirty="0"/>
              <a:t> субъектов РФ</a:t>
            </a:r>
          </a:p>
          <a:p>
            <a:pPr marL="355600" indent="-1920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kern="0" dirty="0"/>
              <a:t>более 6500 проектов </a:t>
            </a:r>
            <a:br>
              <a:rPr lang="ru-RU" sz="1200" kern="0" dirty="0"/>
            </a:br>
            <a:r>
              <a:rPr lang="ru-RU" sz="1200" kern="0" dirty="0"/>
              <a:t>по 22 направлениям</a:t>
            </a:r>
          </a:p>
          <a:p>
            <a:pPr marL="355600" indent="-1920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cs typeface="Times New Roman" panose="02020603050405020304" pitchFamily="18" charset="0"/>
              </a:rPr>
              <a:t>создание Клуба губернаторов этих регионов</a:t>
            </a:r>
            <a:endParaRPr lang="ru-RU" sz="1200" dirty="0"/>
          </a:p>
        </p:txBody>
      </p:sp>
      <p:sp>
        <p:nvSpPr>
          <p:cNvPr id="75" name="Прямоугольник 74"/>
          <p:cNvSpPr/>
          <p:nvPr/>
        </p:nvSpPr>
        <p:spPr>
          <a:xfrm>
            <a:off x="714701" y="1626779"/>
            <a:ext cx="253940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b="1" dirty="0">
                <a:solidFill>
                  <a:srgbClr val="404040"/>
                </a:solidFill>
              </a:rPr>
              <a:t>40 образцов</a:t>
            </a:r>
            <a:r>
              <a:rPr lang="ru-RU" sz="1200" dirty="0">
                <a:solidFill>
                  <a:srgbClr val="404040"/>
                </a:solidFill>
              </a:rPr>
              <a:t/>
            </a:r>
            <a:br>
              <a:rPr lang="ru-RU" sz="1200" dirty="0">
                <a:solidFill>
                  <a:srgbClr val="404040"/>
                </a:solidFill>
              </a:rPr>
            </a:br>
            <a:r>
              <a:rPr lang="ru-RU" sz="1200" dirty="0">
                <a:solidFill>
                  <a:srgbClr val="404040"/>
                </a:solidFill>
              </a:rPr>
              <a:t>в различных типах производства</a:t>
            </a:r>
          </a:p>
          <a:p>
            <a:pPr>
              <a:spcAft>
                <a:spcPts val="600"/>
              </a:spcAft>
            </a:pPr>
            <a:r>
              <a:rPr lang="ru-RU" sz="1200" b="1" dirty="0">
                <a:solidFill>
                  <a:srgbClr val="404040"/>
                </a:solidFill>
              </a:rPr>
              <a:t>1</a:t>
            </a:r>
            <a:r>
              <a:rPr lang="ru-RU" sz="1200" dirty="0">
                <a:solidFill>
                  <a:srgbClr val="404040"/>
                </a:solidFill>
              </a:rPr>
              <a:t> </a:t>
            </a:r>
            <a:r>
              <a:rPr lang="ru-RU" sz="1200" b="1" dirty="0">
                <a:solidFill>
                  <a:srgbClr val="404040"/>
                </a:solidFill>
              </a:rPr>
              <a:t>образец </a:t>
            </a:r>
            <a:r>
              <a:rPr lang="ru-RU" sz="1200" dirty="0">
                <a:solidFill>
                  <a:srgbClr val="404040"/>
                </a:solidFill>
              </a:rPr>
              <a:t>стройки АЭС</a:t>
            </a:r>
          </a:p>
          <a:p>
            <a:pPr>
              <a:spcAft>
                <a:spcPts val="600"/>
              </a:spcAft>
            </a:pPr>
            <a:r>
              <a:rPr lang="ru-RU" sz="1200" b="1" dirty="0">
                <a:solidFill>
                  <a:srgbClr val="404040"/>
                </a:solidFill>
              </a:rPr>
              <a:t>4 образца</a:t>
            </a:r>
            <a:r>
              <a:rPr lang="ru-RU" sz="1200" dirty="0">
                <a:solidFill>
                  <a:srgbClr val="404040"/>
                </a:solidFill>
              </a:rPr>
              <a:t> </a:t>
            </a:r>
            <a:br>
              <a:rPr lang="ru-RU" sz="1200" dirty="0">
                <a:solidFill>
                  <a:srgbClr val="404040"/>
                </a:solidFill>
              </a:rPr>
            </a:br>
            <a:r>
              <a:rPr lang="ru-RU" sz="1200" dirty="0">
                <a:solidFill>
                  <a:srgbClr val="404040"/>
                </a:solidFill>
              </a:rPr>
              <a:t>в проектировании</a:t>
            </a:r>
            <a:endParaRPr lang="ru-RU" sz="1200" dirty="0"/>
          </a:p>
        </p:txBody>
      </p:sp>
      <p:sp>
        <p:nvSpPr>
          <p:cNvPr id="76" name="Прямоугольник 75"/>
          <p:cNvSpPr/>
          <p:nvPr/>
        </p:nvSpPr>
        <p:spPr>
          <a:xfrm>
            <a:off x="6337262" y="1576404"/>
            <a:ext cx="277297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50</a:t>
            </a:r>
            <a:r>
              <a:rPr lang="ru-RU" sz="1200" dirty="0"/>
              <a:t> предприятий-поставщиков – развитие потоков и создание НПС</a:t>
            </a:r>
          </a:p>
          <a:p>
            <a:endParaRPr lang="ru-RU" sz="1200" dirty="0"/>
          </a:p>
        </p:txBody>
      </p:sp>
      <p:cxnSp>
        <p:nvCxnSpPr>
          <p:cNvPr id="77" name="Прямая соединительная линия 76"/>
          <p:cNvCxnSpPr/>
          <p:nvPr/>
        </p:nvCxnSpPr>
        <p:spPr>
          <a:xfrm>
            <a:off x="605978" y="764169"/>
            <a:ext cx="0" cy="399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/>
          <p:cNvCxnSpPr/>
          <p:nvPr/>
        </p:nvCxnSpPr>
        <p:spPr>
          <a:xfrm flipH="1" flipV="1">
            <a:off x="2232" y="1491042"/>
            <a:ext cx="9108000" cy="1075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 flipH="1" flipV="1">
            <a:off x="19574" y="3094950"/>
            <a:ext cx="9143999" cy="1075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/>
          <p:cNvSpPr/>
          <p:nvPr/>
        </p:nvSpPr>
        <p:spPr>
          <a:xfrm rot="16200000">
            <a:off x="18218" y="2061245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404040"/>
                </a:solidFill>
              </a:rPr>
              <a:t>2019</a:t>
            </a:r>
            <a:endParaRPr lang="ru-RU" sz="1600" b="1" dirty="0"/>
          </a:p>
        </p:txBody>
      </p:sp>
      <p:sp>
        <p:nvSpPr>
          <p:cNvPr id="81" name="Прямоугольник 80"/>
          <p:cNvSpPr/>
          <p:nvPr/>
        </p:nvSpPr>
        <p:spPr>
          <a:xfrm rot="16200000">
            <a:off x="-202860" y="3857232"/>
            <a:ext cx="108074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rgbClr val="404040"/>
                </a:solidFill>
              </a:rPr>
              <a:t>2020-2021</a:t>
            </a:r>
            <a:endParaRPr lang="ru-RU" sz="1600" b="1" dirty="0"/>
          </a:p>
        </p:txBody>
      </p:sp>
      <p:sp>
        <p:nvSpPr>
          <p:cNvPr id="82" name="Прямоугольник 81"/>
          <p:cNvSpPr/>
          <p:nvPr/>
        </p:nvSpPr>
        <p:spPr>
          <a:xfrm>
            <a:off x="3496424" y="3410237"/>
            <a:ext cx="2634376" cy="1349933"/>
          </a:xfrm>
          <a:prstGeom prst="rect">
            <a:avLst/>
          </a:prstGeom>
          <a:noFill/>
          <a:ln w="57150">
            <a:solidFill>
              <a:srgbClr val="92D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83" name="Прямоугольник 82"/>
          <p:cNvSpPr/>
          <p:nvPr/>
        </p:nvSpPr>
        <p:spPr>
          <a:xfrm>
            <a:off x="6317778" y="3410237"/>
            <a:ext cx="2725814" cy="1347272"/>
          </a:xfrm>
          <a:prstGeom prst="rect">
            <a:avLst/>
          </a:prstGeom>
          <a:noFill/>
          <a:ln w="57150">
            <a:solidFill>
              <a:srgbClr val="92D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84" name="Стрелка вниз 83"/>
          <p:cNvSpPr/>
          <p:nvPr/>
        </p:nvSpPr>
        <p:spPr>
          <a:xfrm>
            <a:off x="840620" y="2975609"/>
            <a:ext cx="2388625" cy="1784561"/>
          </a:xfrm>
          <a:prstGeom prst="downArrow">
            <a:avLst>
              <a:gd name="adj1" fmla="val 60610"/>
              <a:gd name="adj2" fmla="val 50000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85" name="Прямоугольник 84"/>
          <p:cNvSpPr/>
          <p:nvPr/>
        </p:nvSpPr>
        <p:spPr>
          <a:xfrm>
            <a:off x="1235041" y="3206594"/>
            <a:ext cx="161963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404040"/>
                </a:solidFill>
              </a:rPr>
              <a:t>Тираж</a:t>
            </a:r>
            <a:r>
              <a:rPr lang="ru-RU" sz="1200" dirty="0">
                <a:solidFill>
                  <a:srgbClr val="404040"/>
                </a:solidFill>
              </a:rPr>
              <a:t> </a:t>
            </a:r>
            <a:br>
              <a:rPr lang="ru-RU" sz="1200" dirty="0">
                <a:solidFill>
                  <a:srgbClr val="404040"/>
                </a:solidFill>
              </a:rPr>
            </a:br>
            <a:r>
              <a:rPr lang="ru-RU" sz="1200" b="1" dirty="0">
                <a:solidFill>
                  <a:srgbClr val="404040"/>
                </a:solidFill>
              </a:rPr>
              <a:t>образцов </a:t>
            </a:r>
            <a:br>
              <a:rPr lang="ru-RU" sz="1200" b="1" dirty="0">
                <a:solidFill>
                  <a:srgbClr val="404040"/>
                </a:solidFill>
              </a:rPr>
            </a:br>
            <a:r>
              <a:rPr lang="ru-RU" sz="1200" dirty="0">
                <a:solidFill>
                  <a:srgbClr val="404040"/>
                </a:solidFill>
              </a:rPr>
              <a:t>по всем продуктовым цепочкам </a:t>
            </a:r>
            <a:endParaRPr lang="ru-RU" sz="1200" dirty="0"/>
          </a:p>
        </p:txBody>
      </p:sp>
      <p:sp>
        <p:nvSpPr>
          <p:cNvPr id="86" name="Прямоугольник 85"/>
          <p:cNvSpPr/>
          <p:nvPr/>
        </p:nvSpPr>
        <p:spPr>
          <a:xfrm>
            <a:off x="3723824" y="3633680"/>
            <a:ext cx="21987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cs typeface="Times New Roman" panose="02020603050405020304" pitchFamily="18" charset="0"/>
              </a:rPr>
              <a:t>Создание </a:t>
            </a:r>
            <a:br>
              <a:rPr lang="ru-RU" sz="1200" b="1" dirty="0">
                <a:cs typeface="Times New Roman" panose="02020603050405020304" pitchFamily="18" charset="0"/>
              </a:rPr>
            </a:br>
            <a:r>
              <a:rPr lang="ru-RU" sz="1200" b="1" dirty="0">
                <a:cs typeface="Times New Roman" panose="02020603050405020304" pitchFamily="18" charset="0"/>
              </a:rPr>
              <a:t>образцов </a:t>
            </a:r>
            <a:br>
              <a:rPr lang="ru-RU" sz="1200" b="1" dirty="0">
                <a:cs typeface="Times New Roman" panose="02020603050405020304" pitchFamily="18" charset="0"/>
              </a:rPr>
            </a:br>
            <a:r>
              <a:rPr lang="ru-RU" sz="1200" dirty="0">
                <a:cs typeface="Times New Roman" panose="02020603050405020304" pitchFamily="18" charset="0"/>
              </a:rPr>
              <a:t>во всех сферах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6581318" y="3633680"/>
            <a:ext cx="219873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cs typeface="Times New Roman" panose="02020603050405020304" pitchFamily="18" charset="0"/>
              </a:rPr>
              <a:t>Создание </a:t>
            </a:r>
            <a:br>
              <a:rPr lang="ru-RU" sz="1200" b="1" dirty="0">
                <a:cs typeface="Times New Roman" panose="02020603050405020304" pitchFamily="18" charset="0"/>
              </a:rPr>
            </a:br>
            <a:r>
              <a:rPr lang="ru-RU" sz="1200" b="1" dirty="0">
                <a:cs typeface="Times New Roman" panose="02020603050405020304" pitchFamily="18" charset="0"/>
              </a:rPr>
              <a:t>образцов</a:t>
            </a:r>
          </a:p>
          <a:p>
            <a:pPr algn="ctr"/>
            <a:r>
              <a:rPr lang="ru-RU" sz="1200" dirty="0" smtClean="0">
                <a:cs typeface="Times New Roman" panose="02020603050405020304" pitchFamily="18" charset="0"/>
              </a:rPr>
              <a:t>у поставщиков </a:t>
            </a:r>
            <a:r>
              <a:rPr lang="ru-RU" sz="1200" dirty="0">
                <a:cs typeface="Times New Roman" panose="02020603050405020304" pitchFamily="18" charset="0"/>
              </a:rPr>
              <a:t/>
            </a:r>
            <a:br>
              <a:rPr lang="ru-RU" sz="1200" dirty="0">
                <a:cs typeface="Times New Roman" panose="02020603050405020304" pitchFamily="18" charset="0"/>
              </a:rPr>
            </a:br>
            <a:r>
              <a:rPr lang="ru-RU" sz="1200" dirty="0">
                <a:cs typeface="Times New Roman" panose="02020603050405020304" pitchFamily="18" charset="0"/>
              </a:rPr>
              <a:t>и подрядчиков</a:t>
            </a:r>
          </a:p>
        </p:txBody>
      </p:sp>
      <p:sp>
        <p:nvSpPr>
          <p:cNvPr id="88" name="Стрелка вниз 87"/>
          <p:cNvSpPr/>
          <p:nvPr/>
        </p:nvSpPr>
        <p:spPr>
          <a:xfrm>
            <a:off x="4589093" y="2975608"/>
            <a:ext cx="549035" cy="368406"/>
          </a:xfrm>
          <a:prstGeom prst="downArrow">
            <a:avLst>
              <a:gd name="adj1" fmla="val 60610"/>
              <a:gd name="adj2" fmla="val 50000"/>
            </a:avLst>
          </a:prstGeom>
          <a:solidFill>
            <a:srgbClr val="B6E0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89" name="Стрелка вниз 88"/>
          <p:cNvSpPr/>
          <p:nvPr/>
        </p:nvSpPr>
        <p:spPr>
          <a:xfrm>
            <a:off x="7449229" y="2975608"/>
            <a:ext cx="549035" cy="368406"/>
          </a:xfrm>
          <a:prstGeom prst="downArrow">
            <a:avLst>
              <a:gd name="adj1" fmla="val 60610"/>
              <a:gd name="adj2" fmla="val 50000"/>
            </a:avLst>
          </a:prstGeom>
          <a:solidFill>
            <a:srgbClr val="B6E0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32" name="TextBox 31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1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80967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ru-RU" sz="2800" dirty="0">
                <a:solidFill>
                  <a:schemeClr val="tx1"/>
                </a:solidFill>
              </a:rPr>
              <a:t>Спасибо</a:t>
            </a:r>
          </a:p>
          <a:p>
            <a:pPr>
              <a:lnSpc>
                <a:spcPct val="100000"/>
              </a:lnSpc>
            </a:pPr>
            <a:r>
              <a:rPr lang="ru-RU" sz="2800" dirty="0">
                <a:solidFill>
                  <a:schemeClr val="tx1"/>
                </a:solidFill>
              </a:rPr>
              <a:t>за внимание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Моб</a:t>
            </a:r>
            <a:r>
              <a:rPr lang="ru-RU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. тел.: +7 </a:t>
            </a:r>
            <a:r>
              <a:rPr lang="ru-RU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(</a:t>
            </a:r>
            <a:r>
              <a:rPr lang="en-US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9</a:t>
            </a:r>
            <a:r>
              <a:rPr lang="ru-RU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85) 267 69 91</a:t>
            </a:r>
            <a:endParaRPr lang="ru-RU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ru-RU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E-mail: </a:t>
            </a:r>
            <a:r>
              <a:rPr lang="en-US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dorofeev@ps-rosatom.ru</a:t>
            </a:r>
            <a:endParaRPr lang="ru-RU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www.rosatom.ru</a:t>
            </a:r>
            <a:endParaRPr lang="ru-RU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Дорофеев Евгений Викторович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Руководитель проекта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816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Заголовок 3"/>
          <p:cNvSpPr>
            <a:spLocks noGrp="1"/>
          </p:cNvSpPr>
          <p:nvPr>
            <p:ph type="title"/>
          </p:nvPr>
        </p:nvSpPr>
        <p:spPr>
          <a:xfrm>
            <a:off x="927291" y="53761"/>
            <a:ext cx="6655410" cy="721519"/>
          </a:xfrm>
        </p:spPr>
        <p:txBody>
          <a:bodyPr anchor="ctr"/>
          <a:lstStyle/>
          <a:p>
            <a:pPr algn="ctr"/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а 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«Эффективный регион»</a:t>
            </a:r>
            <a:endParaRPr lang="ru-RU" altLang="ru-RU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6E2F187E-C0CD-410E-A362-45B5B1E172CC}"/>
              </a:ext>
            </a:extLst>
          </p:cNvPr>
          <p:cNvSpPr/>
          <p:nvPr/>
        </p:nvSpPr>
        <p:spPr>
          <a:xfrm>
            <a:off x="185834" y="1218070"/>
            <a:ext cx="8850664" cy="3062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450215" algn="just"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600" b="1" dirty="0">
                <a:solidFill>
                  <a:srgbClr val="33333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вышение эффективности </a:t>
            </a:r>
            <a:r>
              <a:rPr lang="ru-RU" sz="1600" b="1" dirty="0" smtClean="0">
                <a:solidFill>
                  <a:srgbClr val="33333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ганов </a:t>
            </a:r>
            <a:r>
              <a:rPr lang="ru-RU" sz="1600" b="1" dirty="0">
                <a:solidFill>
                  <a:srgbClr val="33333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осударственного и муниципального управления с применением методов бережливого производства с целью: </a:t>
            </a:r>
            <a:endParaRPr lang="ru-RU" sz="1600" b="1" dirty="0" smtClean="0">
              <a:solidFill>
                <a:srgbClr val="333333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indent="450215" algn="just"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endParaRPr lang="ru-RU" sz="1600" b="1" dirty="0">
              <a:solidFill>
                <a:srgbClr val="333333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71450" marR="0" indent="-171450" algn="just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33333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кращения </a:t>
            </a:r>
            <a:r>
              <a:rPr lang="ru-RU" sz="1600" b="1" dirty="0">
                <a:solidFill>
                  <a:srgbClr val="33333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сех видов потерь времени и ресурсов </a:t>
            </a:r>
            <a:r>
              <a:rPr lang="ru-RU" sz="1600" dirty="0">
                <a:solidFill>
                  <a:srgbClr val="33333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взаимодействии населения с органами власти и организациями всех </a:t>
            </a:r>
            <a:r>
              <a:rPr lang="ru-RU" sz="1600" dirty="0" smtClean="0">
                <a:solidFill>
                  <a:srgbClr val="33333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идов социальной сферы</a:t>
            </a:r>
          </a:p>
          <a:p>
            <a:pPr marL="171450" marR="0" indent="-171450" algn="just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33333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вышения </a:t>
            </a:r>
            <a:r>
              <a:rPr lang="ru-RU" sz="1600" b="1" dirty="0">
                <a:solidFill>
                  <a:srgbClr val="33333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довлетворенности населения уровнем жизни в </a:t>
            </a:r>
            <a:r>
              <a:rPr lang="ru-RU" sz="1600" b="1" dirty="0" smtClean="0">
                <a:solidFill>
                  <a:srgbClr val="33333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гионах</a:t>
            </a:r>
          </a:p>
          <a:p>
            <a:pPr marL="171450" indent="-171450" algn="just">
              <a:lnSpc>
                <a:spcPts val="18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лучшения имиджа органов власти </a:t>
            </a:r>
            <a:r>
              <a:rPr lang="ru-RU" sz="16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готовность к использованию прогрессивных технологий, диалог и сотрудничество с жителями региона</a:t>
            </a:r>
            <a:r>
              <a:rPr lang="ru-RU" sz="16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</a:t>
            </a:r>
            <a:endParaRPr lang="ru-RU" sz="1600" dirty="0">
              <a:solidFill>
                <a:srgbClr val="333333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71450" indent="-171450" algn="just">
              <a:lnSpc>
                <a:spcPts val="18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endParaRPr lang="ru-RU" sz="1600" b="1" dirty="0">
              <a:solidFill>
                <a:srgbClr val="333333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рудничество с Госкорпорацией «Росатом» на безвозмездной </a:t>
            </a:r>
            <a:r>
              <a:rPr lang="ru-RU" b="1" dirty="0" smtClean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е</a:t>
            </a:r>
            <a:endParaRPr lang="ru-RU" b="1" dirty="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95566" y="4896506"/>
            <a:ext cx="479618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ЭР 360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Стрелка вниз 6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6897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 descr="C:\Users\amponomarenko.ROSATOM-ACADEMY\Desktop\методички ТВЭЛ\Управление улучшениями\логотипы\glavstroy-20379_240x240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7883" y="927121"/>
            <a:ext cx="1538985" cy="103809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7" name="Объект 16"/>
          <p:cNvGraphicFramePr>
            <a:graphicFrameLocks/>
          </p:cNvGraphicFramePr>
          <p:nvPr>
            <p:extLst/>
          </p:nvPr>
        </p:nvGraphicFramePr>
        <p:xfrm>
          <a:off x="4480419" y="942762"/>
          <a:ext cx="1177426" cy="7450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" name="Точечный рисунок" r:id="rId4" imgW="0" imgH="0" progId="PBrush">
                  <p:embed/>
                </p:oleObj>
              </mc:Choice>
              <mc:Fallback>
                <p:oleObj name="Точечный рисунок" r:id="rId4" imgW="0" imgH="0" progId="PBrush">
                  <p:embed/>
                  <p:pic>
                    <p:nvPicPr>
                      <p:cNvPr id="17" name="Объект 16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80419" y="942762"/>
                        <a:ext cx="1177426" cy="745077"/>
                      </a:xfrm>
                      <a:prstGeom prst="rect">
                        <a:avLst/>
                      </a:prstGeom>
                      <a:solidFill>
                        <a:srgbClr val="FFFFFF"/>
                      </a:solidFill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Рисунок 13" descr="C:\Users\amponomarenko.ROSATOM-ACADEMY\Desktop\методички ТВЭЛ\Управление улучшениями\логотипы\severstal-5269_240x240.png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73706" y="3866036"/>
            <a:ext cx="1025374" cy="946498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Рисунок 3" descr="C:\Users\amponomarenko.ROSATOM-ACADEMY\Desktop\методички ТВЭЛ\Управление улучшениями\логотипы\500px-Ford_Motor_Company_Logo.svg_-41194_240x240.jpg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6219" y="851592"/>
            <a:ext cx="1124603" cy="10380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Рисунок 4" descr="C:\Users\amponomarenko.ROSATOM-ACADEMY\Desktop\методички ТВЭЛ\Управление улучшениями\логотипы\Alcoa630-10697_240x240 (1)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5778" y="3007137"/>
            <a:ext cx="944410" cy="871763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Рисунок 5" descr="C:\Users\amponomarenko.ROSATOM-ACADEMY\Desktop\методички ТВЭЛ\Управление улучшениями\логотипы\Boeing-logo600-13725_240x240.png"/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4101" y="1861165"/>
            <a:ext cx="1467690" cy="922664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Рисунок 6" descr="C:\Users\amponomarenko.ROSATOM-ACADEMY\Desktop\методички ТВЭЛ\Управление улучшениями\логотипы\500px-Volkswagen_Group-16567_240x240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8908" y="1861165"/>
            <a:ext cx="944410" cy="871763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 descr="C:\Users\amponomarenko.ROSATOM-ACADEMY\Desktop\методички ТВЭЛ\Управление улучшениями\логотипы\braz-logo-256-2592_240x240.gif"/>
          <p:cNvPicPr/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0360" y="2081977"/>
            <a:ext cx="1304797" cy="120442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Рисунок 9" descr="C:\Users\amponomarenko.ROSATOM-ACADEMY\Desktop\методички ТВЭЛ\Управление улучшениями\логотипы\VSMPO-AVISMA_NEW_2011-8115_240x240.gif"/>
          <p:cNvPicPr/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4219" y="2952759"/>
            <a:ext cx="1160641" cy="107136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Рисунок 10" descr="C:\Users\amponomarenko.ROSATOM-ACADEMY\Desktop\методички ТВЭЛ\Управление улучшениями\логотипы\toyota-logo-wh-sq-88526_240x240.png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7867" y="1626223"/>
            <a:ext cx="741307" cy="7359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Рисунок 11" descr="C:\Users\amponomarenko.ROSATOM-ACADEMY\Desktop\методички ТВЭЛ\Управление улучшениями\логотипы\gaz-group-logo.gif"/>
          <p:cNvPicPr/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76717" y="833593"/>
            <a:ext cx="970274" cy="102146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Рисунок 12" descr="C:\Users\amponomarenko.ROSATOM-ACADEMY\Desktop\методички ТВЭЛ\Управление улучшениями\логотипы\rusal-logo-35074_240x240.png"/>
          <p:cNvPicPr/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7251" y="3866036"/>
            <a:ext cx="1142376" cy="1054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Рисунок 14" descr="C:\Users\amponomarenko.ROSATOM-ACADEMY\Desktop\методички ТВЭЛ\Управление улучшениями\логотипы\Kamaz_logo-22721_240x240.gif"/>
          <p:cNvPicPr/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6220" y="2416597"/>
            <a:ext cx="1230498" cy="1156378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Rectangle 2"/>
          <p:cNvSpPr>
            <a:spLocks noChangeArrowheads="1"/>
          </p:cNvSpPr>
          <p:nvPr/>
        </p:nvSpPr>
        <p:spPr bwMode="auto">
          <a:xfrm>
            <a:off x="1017506" y="-31791"/>
            <a:ext cx="138883" cy="290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738" tIns="34368" rIns="68738" bIns="34368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1435"/>
          </a:p>
        </p:txBody>
      </p:sp>
      <p:pic>
        <p:nvPicPr>
          <p:cNvPr id="18" name="Рисунок 17" descr="C:\Users\amponomarenko.ROSATOM-ACADEMY\Desktop\методички ТВЭЛ\Управление улучшениями\логотипы\ahkuban-7949_240x240.png"/>
          <p:cNvPicPr/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7129" y="3660204"/>
            <a:ext cx="1025374" cy="1021689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Рисунок 18" descr="C:\Users\amponomarenko.ROSATOM-ACADEMY\Desktop\методички ТВЭЛ\Управление улучшениями\логотипы\logo-miratorg-90096_240x240.png"/>
          <p:cNvPicPr/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8949" y="3115502"/>
            <a:ext cx="1190627" cy="1071361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Рисунок 19" descr="C:\Users\amponomarenko.ROSATOM-ACADEMY\Desktop\методички ТВЭЛ\Управление улучшениями\логотипы\rostselmash.gif"/>
          <p:cNvPicPr/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12503" y="3914154"/>
            <a:ext cx="1106831" cy="1021689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Рисунок 20" descr="C:\Users\amponomarenko.ROSATOM-ACADEMY\Desktop\методички ТВЭЛ\Управление улучшениями\логотипы\tvz_logo.png"/>
          <p:cNvPicPr/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9056" y="855223"/>
            <a:ext cx="1115717" cy="1029893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Рисунок 21" descr="C:\Users\amponomarenko.ROSATOM-ACADEMY\Desktop\методички ТВЭЛ\Управление улучшениями\логотипы\tvsz-19562_240x240.jpg"/>
          <p:cNvPicPr/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4859" y="1626222"/>
            <a:ext cx="917751" cy="84715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3" name="Объект 22"/>
          <p:cNvGraphicFramePr>
            <a:graphicFrameLocks/>
          </p:cNvGraphicFramePr>
          <p:nvPr>
            <p:extLst/>
          </p:nvPr>
        </p:nvGraphicFramePr>
        <p:xfrm>
          <a:off x="3237138" y="2475702"/>
          <a:ext cx="1051539" cy="868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" name="Точечный рисунок" r:id="rId22" imgW="0" imgH="0" progId="PBrush">
                  <p:embed/>
                </p:oleObj>
              </mc:Choice>
              <mc:Fallback>
                <p:oleObj name="Точечный рисунок" r:id="rId22" imgW="0" imgH="0" progId="PBrush">
                  <p:embed/>
                  <p:pic>
                    <p:nvPicPr>
                      <p:cNvPr id="23" name="Объект 22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37138" y="2475702"/>
                        <a:ext cx="1051539" cy="868117"/>
                      </a:xfrm>
                      <a:prstGeom prst="rect">
                        <a:avLst/>
                      </a:prstGeom>
                      <a:solidFill>
                        <a:srgbClr val="FFFFFF"/>
                      </a:solidFill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Рисунок 23" descr="C:\Users\amponomarenko.ROSATOM-ACADEMY\Desktop\методички ТВЭЛ\Управление улучшениями\логотипы\i (1).jpg"/>
          <p:cNvPicPr/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6789" y="2427899"/>
            <a:ext cx="1286530" cy="857636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Рисунок 24" descr="C:\Users\amponomarenko.ROSATOM-ACADEMY\Desktop\методички ТВЭЛ\Управление улучшениями\логотипы\image.png"/>
          <p:cNvPicPr/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05788" y="3263148"/>
            <a:ext cx="1511648" cy="578289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Рисунок 25" descr="C:\Users\amponomarenko.ROSATOM-ACADEMY\Desktop\методички ТВЭЛ\Управление улучшениями\логотипы\i (2).jpg"/>
          <p:cNvPicPr/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5743" y="4237361"/>
            <a:ext cx="1166867" cy="575173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Рисунок 26" descr="C:\Users\amponomarenko.ROSATOM-ACADEMY\Desktop\методички ТВЭЛ\Управление улучшениями\логотипы\tnk-bp-45197_240x240.gif"/>
          <p:cNvPicPr/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3337" y="1086442"/>
            <a:ext cx="1043639" cy="963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Рисунок 27" descr="C:\Users\amponomarenko.ROSATOM-ACADEMY\Desktop\методички ТВЭЛ\Управление улучшениями\логотипы\Sibur-33996_240x240.gif"/>
          <p:cNvPicPr/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2027" y="1771243"/>
            <a:ext cx="1007601" cy="930092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Рисунок 29" descr="C:\Users\amponomarenko.ROSATOM-ACADEMY\Desktop\методички ТВЭЛ\Управление улучшениями\логотипы\ruskraski-39342_240x240.jpg"/>
          <p:cNvPicPr/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12504" y="2432358"/>
            <a:ext cx="1267817" cy="924222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Прямоугольник 31"/>
          <p:cNvSpPr/>
          <p:nvPr/>
        </p:nvSpPr>
        <p:spPr>
          <a:xfrm>
            <a:off x="195566" y="4896506"/>
            <a:ext cx="849913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ПС Гидропресс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3" name="Стрелка вниз 32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  <p:sp>
        <p:nvSpPr>
          <p:cNvPr id="31" name="Заголовок 2"/>
          <p:cNvSpPr txBox="1">
            <a:spLocks/>
          </p:cNvSpPr>
          <p:nvPr/>
        </p:nvSpPr>
        <p:spPr>
          <a:xfrm>
            <a:off x="1045479" y="231140"/>
            <a:ext cx="6758671" cy="581660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b="1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defRPr>
            </a:lvl1pPr>
          </a:lstStyle>
          <a:p>
            <a:r>
              <a:rPr lang="ru-RU" dirty="0" smtClean="0"/>
              <a:t>Организации, </a:t>
            </a:r>
            <a:r>
              <a:rPr lang="ru-RU" dirty="0"/>
              <a:t>внедряющие производственные системы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и </a:t>
            </a:r>
            <a:r>
              <a:rPr lang="ru-RU" dirty="0"/>
              <a:t>подходы бережливого производства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496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105" y="868443"/>
            <a:ext cx="1834973" cy="2253511"/>
          </a:xfrm>
          <a:prstGeom prst="rect">
            <a:avLst/>
          </a:prstGeom>
          <a:ln>
            <a:solidFill>
              <a:srgbClr val="020202"/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3780446" y="1148672"/>
            <a:ext cx="2541514" cy="138728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16"/>
          <a:stretch/>
        </p:blipFill>
        <p:spPr>
          <a:xfrm>
            <a:off x="3780446" y="2637966"/>
            <a:ext cx="2541514" cy="1401845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668249" y="589764"/>
            <a:ext cx="2412418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8835"/>
            <a:r>
              <a:rPr lang="ru-RU" sz="1201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Традиционного тип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132262" y="589764"/>
            <a:ext cx="3837976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62799"/>
            <a:r>
              <a:rPr lang="ru-RU" sz="1201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На принципах бережливого производств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5404" y="1148672"/>
            <a:ext cx="1567521" cy="2891139"/>
          </a:xfrm>
          <a:prstGeom prst="rect">
            <a:avLst/>
          </a:prstGeom>
          <a:ln>
            <a:solidFill>
              <a:srgbClr val="020202"/>
            </a:solidFill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96369" y="1148854"/>
            <a:ext cx="758704" cy="2890958"/>
          </a:xfrm>
          <a:prstGeom prst="rect">
            <a:avLst/>
          </a:prstGeom>
          <a:ln>
            <a:solidFill>
              <a:srgbClr val="020202"/>
            </a:solidFill>
          </a:ln>
        </p:spPr>
      </p:pic>
      <p:sp>
        <p:nvSpPr>
          <p:cNvPr id="18" name="Прямоугольник 17"/>
          <p:cNvSpPr/>
          <p:nvPr/>
        </p:nvSpPr>
        <p:spPr>
          <a:xfrm>
            <a:off x="1668347" y="4907084"/>
            <a:ext cx="6028520" cy="254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62799"/>
            <a:r>
              <a:rPr lang="ru-RU" sz="1052" kern="0" dirty="0" smtClean="0">
                <a:solidFill>
                  <a:srgbClr val="003274"/>
                </a:solidFill>
                <a:latin typeface="Arial"/>
                <a:cs typeface="Times New Roman" panose="02020603050405020304" pitchFamily="18" charset="0"/>
              </a:rPr>
              <a:t>АНО РРАПП. Процесс выдачи </a:t>
            </a:r>
            <a:r>
              <a:rPr lang="ru-RU" sz="1052" kern="0" dirty="0" err="1" smtClean="0">
                <a:solidFill>
                  <a:srgbClr val="003274"/>
                </a:solidFill>
                <a:latin typeface="Arial"/>
                <a:cs typeface="Times New Roman" panose="02020603050405020304" pitchFamily="18" charset="0"/>
              </a:rPr>
              <a:t>микрозаймов</a:t>
            </a:r>
            <a:endParaRPr lang="ru-RU" sz="1052" kern="0" dirty="0">
              <a:solidFill>
                <a:srgbClr val="003274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4104" y="868443"/>
            <a:ext cx="3208487" cy="4038641"/>
          </a:xfrm>
          <a:prstGeom prst="roundRect">
            <a:avLst>
              <a:gd name="adj" fmla="val 1849"/>
            </a:avLst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680442" y="868443"/>
            <a:ext cx="5367308" cy="4038642"/>
          </a:xfrm>
          <a:prstGeom prst="roundRect">
            <a:avLst>
              <a:gd name="adj" fmla="val 1849"/>
            </a:avLst>
          </a:prstGeom>
          <a:noFill/>
          <a:ln w="349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827235" y="159838"/>
            <a:ext cx="3379130" cy="359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62799"/>
            <a:r>
              <a:rPr lang="ru-RU" sz="1739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Производственные системы</a:t>
            </a:r>
          </a:p>
        </p:txBody>
      </p:sp>
      <p:sp>
        <p:nvSpPr>
          <p:cNvPr id="22" name="Овал 21"/>
          <p:cNvSpPr/>
          <p:nvPr/>
        </p:nvSpPr>
        <p:spPr>
          <a:xfrm>
            <a:off x="2030988" y="968413"/>
            <a:ext cx="260979" cy="27387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2799"/>
            <a:r>
              <a:rPr lang="ru-RU" sz="1739" b="1" dirty="0">
                <a:solidFill>
                  <a:srgbClr val="FFFFFF"/>
                </a:solidFill>
                <a:latin typeface="Arial"/>
              </a:rPr>
              <a:t>_</a:t>
            </a:r>
            <a:r>
              <a:rPr lang="ru-RU" sz="1739" dirty="0">
                <a:solidFill>
                  <a:srgbClr val="FFFFFF"/>
                </a:solidFill>
                <a:latin typeface="Arial"/>
              </a:rPr>
              <a:t>_</a:t>
            </a:r>
          </a:p>
        </p:txBody>
      </p:sp>
      <p:sp>
        <p:nvSpPr>
          <p:cNvPr id="23" name="Овал 22"/>
          <p:cNvSpPr/>
          <p:nvPr/>
        </p:nvSpPr>
        <p:spPr>
          <a:xfrm>
            <a:off x="3773487" y="909728"/>
            <a:ext cx="260979" cy="27387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2799"/>
            <a:r>
              <a:rPr lang="ru-RU" sz="3479" dirty="0">
                <a:solidFill>
                  <a:srgbClr val="FFFFFF"/>
                </a:solidFill>
                <a:latin typeface="Arial"/>
              </a:rPr>
              <a:t>+</a:t>
            </a:r>
          </a:p>
        </p:txBody>
      </p:sp>
      <p:sp>
        <p:nvSpPr>
          <p:cNvPr id="24" name="Равнобедренный треугольник 23"/>
          <p:cNvSpPr/>
          <p:nvPr/>
        </p:nvSpPr>
        <p:spPr>
          <a:xfrm rot="5400000">
            <a:off x="2540130" y="2541998"/>
            <a:ext cx="1743306" cy="19193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3256" y="3184974"/>
            <a:ext cx="3038079" cy="1447707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>
          <a:xfrm>
            <a:off x="3780446" y="4066460"/>
            <a:ext cx="5174627" cy="733534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algn="ctr" defTabSz="662799">
              <a:lnSpc>
                <a:spcPts val="2500"/>
              </a:lnSpc>
            </a:pP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Сокращение:   Время с </a:t>
            </a:r>
            <a:r>
              <a:rPr lang="ru-RU" sz="2000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42</a:t>
            </a: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 до </a:t>
            </a:r>
            <a:r>
              <a:rPr lang="ru-RU" sz="2000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12</a:t>
            </a: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 дней, </a:t>
            </a:r>
            <a:b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</a:br>
            <a:r>
              <a:rPr lang="ru-RU" sz="1305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з</a:t>
            </a: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апасы с </a:t>
            </a:r>
            <a:r>
              <a:rPr lang="ru-RU" sz="2030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129 </a:t>
            </a:r>
            <a:r>
              <a:rPr lang="ru-RU" sz="1305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до</a:t>
            </a:r>
            <a:r>
              <a:rPr lang="ru-RU" sz="2030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 58 </a:t>
            </a:r>
            <a:r>
              <a:rPr lang="ru-RU" sz="1305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шт., </a:t>
            </a: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перемещения с </a:t>
            </a:r>
            <a:r>
              <a:rPr lang="ru-RU" sz="2000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657</a:t>
            </a: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 до </a:t>
            </a:r>
            <a:r>
              <a:rPr lang="ru-RU" sz="2000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315 </a:t>
            </a: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м </a:t>
            </a:r>
            <a:endParaRPr lang="ru-RU" sz="1305" dirty="0">
              <a:solidFill>
                <a:srgbClr val="F8BFAA">
                  <a:lumMod val="10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942302" y="1379865"/>
            <a:ext cx="1280836" cy="1493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" indent="-72000" defTabSz="698835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901" dirty="0" smtClean="0">
                <a:solidFill>
                  <a:srgbClr val="F8BFAA">
                    <a:lumMod val="10000"/>
                  </a:srgbClr>
                </a:solidFill>
                <a:latin typeface="Arial"/>
              </a:rPr>
              <a:t>Пролеживание заявок в потоке.</a:t>
            </a:r>
          </a:p>
          <a:p>
            <a:pPr marL="72000" indent="-72000" defTabSz="698835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901" dirty="0" smtClean="0">
                <a:solidFill>
                  <a:srgbClr val="F8BFAA">
                    <a:lumMod val="10000"/>
                  </a:srgbClr>
                </a:solidFill>
                <a:latin typeface="Arial"/>
              </a:rPr>
              <a:t>Нарушение норматива времени на выдачу займов.</a:t>
            </a:r>
          </a:p>
          <a:p>
            <a:pPr marL="72000" indent="-72000" defTabSz="698835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901" dirty="0" smtClean="0">
                <a:solidFill>
                  <a:srgbClr val="F8BFAA">
                    <a:lumMod val="10000"/>
                  </a:srgbClr>
                </a:solidFill>
                <a:latin typeface="Arial"/>
              </a:rPr>
              <a:t>Длительные перемещения и сложность потока</a:t>
            </a:r>
            <a:endParaRPr lang="ru-RU" sz="901" dirty="0">
              <a:solidFill>
                <a:srgbClr val="F8BFAA">
                  <a:lumMod val="10000"/>
                </a:srgbClr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195566" y="4896506"/>
            <a:ext cx="1407758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ПС Режимное предприятие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0" name="Стрелка вниз 29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7309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95974" y="1148649"/>
            <a:ext cx="2412418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8835"/>
            <a:r>
              <a:rPr lang="ru-RU" sz="1201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Традиционного тип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340521" y="1160908"/>
            <a:ext cx="3837976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62799"/>
            <a:r>
              <a:rPr lang="ru-RU" sz="1201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На принципах бережливого производств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827235" y="159838"/>
            <a:ext cx="3379130" cy="359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62799"/>
            <a:r>
              <a:rPr lang="ru-RU" sz="1739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Производственные системы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5582558" y="1668292"/>
            <a:ext cx="1848355" cy="1061158"/>
          </a:xfrm>
          <a:prstGeom prst="rect">
            <a:avLst/>
          </a:prstGeom>
          <a:noFill/>
          <a:ln w="349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6" name="Прямая со стрелкой 55"/>
          <p:cNvCxnSpPr/>
          <p:nvPr/>
        </p:nvCxnSpPr>
        <p:spPr>
          <a:xfrm flipV="1">
            <a:off x="6408734" y="2837178"/>
            <a:ext cx="0" cy="322756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57" name="Прямоугольник 56"/>
          <p:cNvSpPr/>
          <p:nvPr/>
        </p:nvSpPr>
        <p:spPr>
          <a:xfrm>
            <a:off x="5811217" y="2381802"/>
            <a:ext cx="478932" cy="188053"/>
          </a:xfrm>
          <a:prstGeom prst="rect">
            <a:avLst/>
          </a:prstGeom>
          <a:solidFill>
            <a:srgbClr val="BFBFBF">
              <a:lumMod val="75000"/>
            </a:srgbClr>
          </a:solidFill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Овал 57"/>
          <p:cNvSpPr/>
          <p:nvPr/>
        </p:nvSpPr>
        <p:spPr>
          <a:xfrm>
            <a:off x="5993519" y="2240676"/>
            <a:ext cx="94084" cy="94084"/>
          </a:xfrm>
          <a:prstGeom prst="ellips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Дуга 58"/>
          <p:cNvSpPr/>
          <p:nvPr/>
        </p:nvSpPr>
        <p:spPr>
          <a:xfrm rot="19184133">
            <a:off x="5873857" y="2198704"/>
            <a:ext cx="333406" cy="333406"/>
          </a:xfrm>
          <a:prstGeom prst="arc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5720823" y="2652081"/>
            <a:ext cx="980435" cy="101973"/>
          </a:xfrm>
          <a:prstGeom prst="rect">
            <a:avLst/>
          </a:prstGeom>
          <a:solidFill>
            <a:srgbClr val="1C436A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6824719" y="2368989"/>
            <a:ext cx="478932" cy="188053"/>
          </a:xfrm>
          <a:prstGeom prst="rect">
            <a:avLst/>
          </a:prstGeom>
          <a:solidFill>
            <a:srgbClr val="BFBFBF">
              <a:lumMod val="75000"/>
            </a:srgbClr>
          </a:solidFill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Овал 61"/>
          <p:cNvSpPr/>
          <p:nvPr/>
        </p:nvSpPr>
        <p:spPr>
          <a:xfrm>
            <a:off x="7007021" y="2227863"/>
            <a:ext cx="94084" cy="94084"/>
          </a:xfrm>
          <a:prstGeom prst="ellips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Дуга 62"/>
          <p:cNvSpPr/>
          <p:nvPr/>
        </p:nvSpPr>
        <p:spPr>
          <a:xfrm rot="19184133">
            <a:off x="6887359" y="2185891"/>
            <a:ext cx="333406" cy="333406"/>
          </a:xfrm>
          <a:prstGeom prst="arc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7618821" y="1707824"/>
            <a:ext cx="1535998" cy="9643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00380" fontAlgn="base">
              <a:lnSpc>
                <a:spcPts val="1685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72" dirty="0">
                <a:solidFill>
                  <a:srgbClr val="000000"/>
                </a:solidFill>
                <a:latin typeface="Arial"/>
              </a:rPr>
              <a:t>Отдал паспорт</a:t>
            </a:r>
            <a:br>
              <a:rPr lang="ru-RU" sz="1072" dirty="0">
                <a:solidFill>
                  <a:srgbClr val="000000"/>
                </a:solidFill>
                <a:latin typeface="Arial"/>
              </a:rPr>
            </a:br>
            <a:r>
              <a:rPr lang="ru-RU" sz="1072" dirty="0">
                <a:solidFill>
                  <a:srgbClr val="000000"/>
                </a:solidFill>
                <a:latin typeface="Arial"/>
              </a:rPr>
              <a:t>Сфотографировался</a:t>
            </a:r>
            <a:br>
              <a:rPr lang="ru-RU" sz="1072" dirty="0">
                <a:solidFill>
                  <a:srgbClr val="000000"/>
                </a:solidFill>
                <a:latin typeface="Arial"/>
              </a:rPr>
            </a:br>
            <a:r>
              <a:rPr lang="ru-RU" sz="1072" dirty="0">
                <a:solidFill>
                  <a:srgbClr val="000000"/>
                </a:solidFill>
                <a:latin typeface="Arial"/>
              </a:rPr>
              <a:t>Ожидание 5 мин</a:t>
            </a:r>
          </a:p>
          <a:p>
            <a:pPr defTabSz="700380" fontAlgn="base">
              <a:lnSpc>
                <a:spcPts val="1685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72" dirty="0">
                <a:solidFill>
                  <a:srgbClr val="000000"/>
                </a:solidFill>
                <a:latin typeface="Arial"/>
              </a:rPr>
              <a:t>Получил пропуск </a:t>
            </a:r>
          </a:p>
        </p:txBody>
      </p:sp>
      <p:sp>
        <p:nvSpPr>
          <p:cNvPr id="65" name="Овал 64"/>
          <p:cNvSpPr/>
          <p:nvPr/>
        </p:nvSpPr>
        <p:spPr>
          <a:xfrm>
            <a:off x="7472519" y="1747619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66" name="Овал 65"/>
          <p:cNvSpPr/>
          <p:nvPr/>
        </p:nvSpPr>
        <p:spPr>
          <a:xfrm>
            <a:off x="7472519" y="1981259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67" name="Овал 66"/>
          <p:cNvSpPr/>
          <p:nvPr/>
        </p:nvSpPr>
        <p:spPr>
          <a:xfrm>
            <a:off x="6163862" y="2762013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68" name="Овал 67"/>
          <p:cNvSpPr/>
          <p:nvPr/>
        </p:nvSpPr>
        <p:spPr>
          <a:xfrm>
            <a:off x="5781296" y="2762013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69" name="Овал 68"/>
          <p:cNvSpPr/>
          <p:nvPr/>
        </p:nvSpPr>
        <p:spPr>
          <a:xfrm>
            <a:off x="5975217" y="2762013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70" name="Овал 69"/>
          <p:cNvSpPr/>
          <p:nvPr/>
        </p:nvSpPr>
        <p:spPr>
          <a:xfrm>
            <a:off x="7472519" y="2410873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7479657" y="2282056"/>
            <a:ext cx="167956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pic>
        <p:nvPicPr>
          <p:cNvPr id="72" name="Picture 4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00222" y="2954083"/>
            <a:ext cx="382805" cy="405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3" name="Прямая соединительная линия 72"/>
          <p:cNvCxnSpPr/>
          <p:nvPr/>
        </p:nvCxnSpPr>
        <p:spPr>
          <a:xfrm flipV="1">
            <a:off x="6837780" y="3121852"/>
            <a:ext cx="236809" cy="87959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74" name="Прямоугольник 73"/>
          <p:cNvSpPr/>
          <p:nvPr/>
        </p:nvSpPr>
        <p:spPr>
          <a:xfrm>
            <a:off x="7000552" y="3092982"/>
            <a:ext cx="100553" cy="164631"/>
          </a:xfrm>
          <a:prstGeom prst="rect">
            <a:avLst/>
          </a:prstGeom>
          <a:solidFill>
            <a:srgbClr val="E9EEF3"/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42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ru-RU" sz="1226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5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24690" y="2121513"/>
            <a:ext cx="249558" cy="249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6" name="Прямая соединительная линия 75"/>
          <p:cNvCxnSpPr>
            <a:stCxn id="75" idx="2"/>
          </p:cNvCxnSpPr>
          <p:nvPr/>
        </p:nvCxnSpPr>
        <p:spPr>
          <a:xfrm flipH="1">
            <a:off x="6426766" y="2371071"/>
            <a:ext cx="122703" cy="216227"/>
          </a:xfrm>
          <a:prstGeom prst="line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77" name="Прямая соединительная линия 76"/>
          <p:cNvCxnSpPr>
            <a:stCxn id="75" idx="2"/>
          </p:cNvCxnSpPr>
          <p:nvPr/>
        </p:nvCxnSpPr>
        <p:spPr>
          <a:xfrm>
            <a:off x="6549469" y="2371071"/>
            <a:ext cx="124779" cy="216227"/>
          </a:xfrm>
          <a:prstGeom prst="line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78" name="Скругленный прямоугольник 77"/>
          <p:cNvSpPr/>
          <p:nvPr/>
        </p:nvSpPr>
        <p:spPr>
          <a:xfrm>
            <a:off x="5496507" y="1510002"/>
            <a:ext cx="3571294" cy="2236498"/>
          </a:xfrm>
          <a:prstGeom prst="roundRect">
            <a:avLst>
              <a:gd name="adj" fmla="val 5935"/>
            </a:avLst>
          </a:prstGeom>
          <a:noFill/>
          <a:ln w="635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79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Текст 2"/>
          <p:cNvSpPr txBox="1">
            <a:spLocks/>
          </p:cNvSpPr>
          <p:nvPr/>
        </p:nvSpPr>
        <p:spPr bwMode="auto">
          <a:xfrm>
            <a:off x="5436615" y="3743346"/>
            <a:ext cx="3833287" cy="37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2" kern="0" dirty="0" smtClean="0">
                <a:solidFill>
                  <a:srgbClr val="00B050"/>
                </a:solidFill>
                <a:latin typeface="Arial"/>
                <a:cs typeface="Arial"/>
              </a:rPr>
              <a:t>Стало время 10 </a:t>
            </a:r>
            <a:r>
              <a:rPr lang="ru-RU" sz="1802" kern="0" dirty="0">
                <a:solidFill>
                  <a:srgbClr val="00B050"/>
                </a:solidFill>
                <a:latin typeface="Arial"/>
                <a:cs typeface="Arial"/>
              </a:rPr>
              <a:t>мин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2692796" y="4768075"/>
            <a:ext cx="5537491" cy="280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r>
              <a:rPr lang="ru-RU" sz="1226" b="1" dirty="0">
                <a:solidFill>
                  <a:srgbClr val="000000"/>
                </a:solidFill>
                <a:latin typeface="Arial"/>
              </a:rPr>
              <a:t>Оформление пропуска на режимном предприятии</a:t>
            </a:r>
          </a:p>
        </p:txBody>
      </p:sp>
      <p:cxnSp>
        <p:nvCxnSpPr>
          <p:cNvPr id="81" name="Прямая соединительная линия 80"/>
          <p:cNvCxnSpPr/>
          <p:nvPr/>
        </p:nvCxnSpPr>
        <p:spPr>
          <a:xfrm>
            <a:off x="719877" y="2851337"/>
            <a:ext cx="734048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82" name="Прямоугольник 81"/>
          <p:cNvSpPr/>
          <p:nvPr/>
        </p:nvSpPr>
        <p:spPr>
          <a:xfrm>
            <a:off x="154700" y="1608981"/>
            <a:ext cx="1848355" cy="1061158"/>
          </a:xfrm>
          <a:prstGeom prst="rect">
            <a:avLst/>
          </a:prstGeom>
          <a:noFill/>
          <a:ln w="349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3" name="Прямая со стрелкой 82"/>
          <p:cNvCxnSpPr/>
          <p:nvPr/>
        </p:nvCxnSpPr>
        <p:spPr>
          <a:xfrm flipV="1">
            <a:off x="631318" y="2786666"/>
            <a:ext cx="0" cy="320863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84" name="Прямоугольник 83"/>
          <p:cNvSpPr/>
          <p:nvPr/>
        </p:nvSpPr>
        <p:spPr>
          <a:xfrm>
            <a:off x="266630" y="2281635"/>
            <a:ext cx="478932" cy="188053"/>
          </a:xfrm>
          <a:prstGeom prst="rect">
            <a:avLst/>
          </a:prstGeom>
          <a:solidFill>
            <a:srgbClr val="BFBFBF">
              <a:lumMod val="75000"/>
            </a:srgbClr>
          </a:solidFill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Овал 84"/>
          <p:cNvSpPr/>
          <p:nvPr/>
        </p:nvSpPr>
        <p:spPr>
          <a:xfrm>
            <a:off x="448932" y="2140509"/>
            <a:ext cx="94084" cy="94084"/>
          </a:xfrm>
          <a:prstGeom prst="ellips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Дуга 85"/>
          <p:cNvSpPr/>
          <p:nvPr/>
        </p:nvSpPr>
        <p:spPr>
          <a:xfrm rot="19184133">
            <a:off x="329271" y="2098537"/>
            <a:ext cx="333406" cy="333406"/>
          </a:xfrm>
          <a:prstGeom prst="arc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336988" y="2610821"/>
            <a:ext cx="424531" cy="84974"/>
          </a:xfrm>
          <a:prstGeom prst="rect">
            <a:avLst/>
          </a:prstGeom>
          <a:solidFill>
            <a:srgbClr val="1C436A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1344333" y="2286331"/>
            <a:ext cx="478932" cy="188053"/>
          </a:xfrm>
          <a:prstGeom prst="rect">
            <a:avLst/>
          </a:prstGeom>
          <a:solidFill>
            <a:srgbClr val="BFBFBF">
              <a:lumMod val="75000"/>
            </a:srgbClr>
          </a:solidFill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Овал 88"/>
          <p:cNvSpPr/>
          <p:nvPr/>
        </p:nvSpPr>
        <p:spPr>
          <a:xfrm>
            <a:off x="1526635" y="2145205"/>
            <a:ext cx="94084" cy="94084"/>
          </a:xfrm>
          <a:prstGeom prst="ellips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Дуга 89"/>
          <p:cNvSpPr/>
          <p:nvPr/>
        </p:nvSpPr>
        <p:spPr>
          <a:xfrm rot="19184133">
            <a:off x="1406974" y="2103233"/>
            <a:ext cx="333406" cy="333406"/>
          </a:xfrm>
          <a:prstGeom prst="arc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1378567" y="2618252"/>
            <a:ext cx="424531" cy="84974"/>
          </a:xfrm>
          <a:prstGeom prst="rect">
            <a:avLst/>
          </a:prstGeom>
          <a:solidFill>
            <a:srgbClr val="1C436A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2" name="Прямая соединительная линия 91"/>
          <p:cNvCxnSpPr>
            <a:stCxn id="82" idx="0"/>
            <a:endCxn id="82" idx="2"/>
          </p:cNvCxnSpPr>
          <p:nvPr/>
        </p:nvCxnSpPr>
        <p:spPr>
          <a:xfrm>
            <a:off x="1078878" y="1608981"/>
            <a:ext cx="0" cy="1061158"/>
          </a:xfrm>
          <a:prstGeom prst="line">
            <a:avLst/>
          </a:prstGeom>
          <a:noFill/>
          <a:ln w="349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93" name="Прямоугольник 92"/>
          <p:cNvSpPr/>
          <p:nvPr/>
        </p:nvSpPr>
        <p:spPr>
          <a:xfrm>
            <a:off x="2522235" y="1608981"/>
            <a:ext cx="924177" cy="1061158"/>
          </a:xfrm>
          <a:prstGeom prst="rect">
            <a:avLst/>
          </a:prstGeom>
          <a:noFill/>
          <a:ln w="349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3034011" y="2380358"/>
            <a:ext cx="347493" cy="188053"/>
          </a:xfrm>
          <a:prstGeom prst="rect">
            <a:avLst/>
          </a:prstGeom>
          <a:solidFill>
            <a:srgbClr val="BFBFBF">
              <a:lumMod val="75000"/>
            </a:srgbClr>
          </a:solidFill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Овал 94"/>
          <p:cNvSpPr/>
          <p:nvPr/>
        </p:nvSpPr>
        <p:spPr>
          <a:xfrm>
            <a:off x="3084875" y="2239232"/>
            <a:ext cx="94084" cy="94084"/>
          </a:xfrm>
          <a:prstGeom prst="ellips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Дуга 95"/>
          <p:cNvSpPr/>
          <p:nvPr/>
        </p:nvSpPr>
        <p:spPr>
          <a:xfrm rot="19184133">
            <a:off x="2965214" y="2197260"/>
            <a:ext cx="333406" cy="333406"/>
          </a:xfrm>
          <a:prstGeom prst="arc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2704521" y="2610821"/>
            <a:ext cx="659297" cy="84974"/>
          </a:xfrm>
          <a:prstGeom prst="rect">
            <a:avLst/>
          </a:prstGeom>
          <a:solidFill>
            <a:srgbClr val="1C436A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6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8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1004" y="2074442"/>
            <a:ext cx="249558" cy="249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99" name="Прямая соединительная линия 98"/>
          <p:cNvCxnSpPr>
            <a:stCxn id="98" idx="2"/>
          </p:cNvCxnSpPr>
          <p:nvPr/>
        </p:nvCxnSpPr>
        <p:spPr>
          <a:xfrm flipH="1">
            <a:off x="2673081" y="2324001"/>
            <a:ext cx="122703" cy="216227"/>
          </a:xfrm>
          <a:prstGeom prst="line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00" name="Прямая соединительная линия 99"/>
          <p:cNvCxnSpPr>
            <a:stCxn id="98" idx="2"/>
          </p:cNvCxnSpPr>
          <p:nvPr/>
        </p:nvCxnSpPr>
        <p:spPr>
          <a:xfrm>
            <a:off x="2795784" y="2324001"/>
            <a:ext cx="124779" cy="216227"/>
          </a:xfrm>
          <a:prstGeom prst="line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01" name="Прямая соединительная линия 100"/>
          <p:cNvCxnSpPr/>
          <p:nvPr/>
        </p:nvCxnSpPr>
        <p:spPr>
          <a:xfrm>
            <a:off x="1716253" y="2848752"/>
            <a:ext cx="1067844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102" name="Прямая со стрелкой 101"/>
          <p:cNvCxnSpPr/>
          <p:nvPr/>
        </p:nvCxnSpPr>
        <p:spPr>
          <a:xfrm flipV="1">
            <a:off x="1568050" y="2749001"/>
            <a:ext cx="0" cy="322756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103" name="Прямая со стрелкой 102"/>
          <p:cNvCxnSpPr/>
          <p:nvPr/>
        </p:nvCxnSpPr>
        <p:spPr>
          <a:xfrm flipV="1">
            <a:off x="2939850" y="2781416"/>
            <a:ext cx="0" cy="322756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104" name="Прямая соединительная линия 103"/>
          <p:cNvCxnSpPr/>
          <p:nvPr/>
        </p:nvCxnSpPr>
        <p:spPr>
          <a:xfrm flipH="1">
            <a:off x="549254" y="3195471"/>
            <a:ext cx="2333998" cy="4863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105" name="Прямая со стрелкой 104"/>
          <p:cNvCxnSpPr/>
          <p:nvPr/>
        </p:nvCxnSpPr>
        <p:spPr>
          <a:xfrm flipV="1">
            <a:off x="426868" y="2793835"/>
            <a:ext cx="0" cy="322756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pic>
        <p:nvPicPr>
          <p:cNvPr id="106" name="Picture 4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3784" y="3179838"/>
            <a:ext cx="348934" cy="361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07" name="Прямая соединительная линия 106"/>
          <p:cNvCxnSpPr/>
          <p:nvPr/>
        </p:nvCxnSpPr>
        <p:spPr>
          <a:xfrm>
            <a:off x="469244" y="3431298"/>
            <a:ext cx="162772" cy="104635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08" name="Прямоугольник 107"/>
          <p:cNvSpPr/>
          <p:nvPr/>
        </p:nvSpPr>
        <p:spPr>
          <a:xfrm>
            <a:off x="631381" y="3459339"/>
            <a:ext cx="100553" cy="164631"/>
          </a:xfrm>
          <a:prstGeom prst="rect">
            <a:avLst/>
          </a:prstGeom>
          <a:solidFill>
            <a:srgbClr val="E9EEF3"/>
          </a:solidFill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42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ru-RU" sz="1226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Овал 108"/>
          <p:cNvSpPr/>
          <p:nvPr/>
        </p:nvSpPr>
        <p:spPr>
          <a:xfrm>
            <a:off x="678946" y="2897584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10" name="Овал 109"/>
          <p:cNvSpPr/>
          <p:nvPr/>
        </p:nvSpPr>
        <p:spPr>
          <a:xfrm>
            <a:off x="1362010" y="2899489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11" name="Овал 110"/>
          <p:cNvSpPr/>
          <p:nvPr/>
        </p:nvSpPr>
        <p:spPr>
          <a:xfrm>
            <a:off x="2720069" y="2909842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12" name="Овал 111"/>
          <p:cNvSpPr/>
          <p:nvPr/>
        </p:nvSpPr>
        <p:spPr>
          <a:xfrm>
            <a:off x="184056" y="2899489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3859665" y="1556230"/>
            <a:ext cx="1535998" cy="20544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00380" fontAlgn="base">
              <a:lnSpc>
                <a:spcPts val="1685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72" dirty="0">
                <a:solidFill>
                  <a:srgbClr val="000000"/>
                </a:solidFill>
                <a:latin typeface="Arial"/>
              </a:rPr>
              <a:t>Отдал паспорт</a:t>
            </a:r>
            <a:br>
              <a:rPr lang="ru-RU" sz="1072" dirty="0">
                <a:solidFill>
                  <a:srgbClr val="000000"/>
                </a:solidFill>
                <a:latin typeface="Arial"/>
              </a:rPr>
            </a:br>
            <a:r>
              <a:rPr lang="ru-RU" sz="1072" dirty="0">
                <a:solidFill>
                  <a:srgbClr val="000000"/>
                </a:solidFill>
                <a:latin typeface="Arial"/>
              </a:rPr>
              <a:t>Перешел в окно </a:t>
            </a:r>
            <a:r>
              <a:rPr lang="en-US" sz="1072" dirty="0">
                <a:solidFill>
                  <a:srgbClr val="000000"/>
                </a:solidFill>
                <a:latin typeface="Arial"/>
              </a:rPr>
              <a:t>II</a:t>
            </a:r>
            <a:endParaRPr lang="ru-RU" sz="1072" dirty="0">
              <a:solidFill>
                <a:srgbClr val="000000"/>
              </a:solidFill>
              <a:latin typeface="Arial"/>
            </a:endParaRPr>
          </a:p>
          <a:p>
            <a:pPr defTabSz="700380" fontAlgn="base">
              <a:lnSpc>
                <a:spcPts val="1685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72" dirty="0">
                <a:solidFill>
                  <a:srgbClr val="000000"/>
                </a:solidFill>
                <a:latin typeface="Arial"/>
              </a:rPr>
              <a:t>Получил бегунок</a:t>
            </a:r>
          </a:p>
          <a:p>
            <a:pPr defTabSz="700380" fontAlgn="base">
              <a:lnSpc>
                <a:spcPts val="1685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72" dirty="0">
                <a:solidFill>
                  <a:srgbClr val="000000"/>
                </a:solidFill>
                <a:latin typeface="Arial"/>
              </a:rPr>
              <a:t>Перешел в окно </a:t>
            </a:r>
            <a:r>
              <a:rPr lang="en-US" sz="1072" dirty="0">
                <a:solidFill>
                  <a:srgbClr val="000000"/>
                </a:solidFill>
                <a:latin typeface="Arial"/>
              </a:rPr>
              <a:t>III</a:t>
            </a:r>
            <a:endParaRPr lang="ru-RU" sz="1072" dirty="0">
              <a:solidFill>
                <a:srgbClr val="000000"/>
              </a:solidFill>
              <a:latin typeface="Arial"/>
            </a:endParaRPr>
          </a:p>
          <a:p>
            <a:pPr defTabSz="700380" fontAlgn="base">
              <a:lnSpc>
                <a:spcPts val="1685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72" dirty="0">
                <a:solidFill>
                  <a:srgbClr val="000000"/>
                </a:solidFill>
                <a:latin typeface="Arial"/>
              </a:rPr>
              <a:t>Сфотографировался</a:t>
            </a:r>
          </a:p>
          <a:p>
            <a:pPr defTabSz="700380" fontAlgn="base">
              <a:lnSpc>
                <a:spcPts val="1685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72" dirty="0">
                <a:solidFill>
                  <a:srgbClr val="000000"/>
                </a:solidFill>
                <a:latin typeface="Arial"/>
              </a:rPr>
              <a:t>Перешел в окно </a:t>
            </a:r>
            <a:r>
              <a:rPr lang="en-US" sz="1072" dirty="0">
                <a:solidFill>
                  <a:srgbClr val="000000"/>
                </a:solidFill>
                <a:latin typeface="Arial"/>
              </a:rPr>
              <a:t>I</a:t>
            </a:r>
          </a:p>
          <a:p>
            <a:pPr defTabSz="700380" fontAlgn="base">
              <a:lnSpc>
                <a:spcPts val="1685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72" dirty="0">
                <a:solidFill>
                  <a:srgbClr val="000000"/>
                </a:solidFill>
                <a:latin typeface="Arial"/>
              </a:rPr>
              <a:t>Отдал бегунок</a:t>
            </a:r>
          </a:p>
          <a:p>
            <a:pPr defTabSz="700380" fontAlgn="base">
              <a:lnSpc>
                <a:spcPts val="1685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72" dirty="0">
                <a:solidFill>
                  <a:srgbClr val="000000"/>
                </a:solidFill>
                <a:latin typeface="Arial"/>
              </a:rPr>
              <a:t>Ожидание 5 мин</a:t>
            </a:r>
            <a:br>
              <a:rPr lang="ru-RU" sz="1072" dirty="0">
                <a:solidFill>
                  <a:srgbClr val="000000"/>
                </a:solidFill>
                <a:latin typeface="Arial"/>
              </a:rPr>
            </a:br>
            <a:r>
              <a:rPr lang="ru-RU" sz="1072" dirty="0">
                <a:solidFill>
                  <a:srgbClr val="000000"/>
                </a:solidFill>
                <a:latin typeface="Arial"/>
              </a:rPr>
              <a:t>Получил пропуск</a:t>
            </a:r>
          </a:p>
        </p:txBody>
      </p:sp>
      <p:sp>
        <p:nvSpPr>
          <p:cNvPr id="114" name="Овал 113"/>
          <p:cNvSpPr/>
          <p:nvPr/>
        </p:nvSpPr>
        <p:spPr>
          <a:xfrm>
            <a:off x="3713364" y="1596024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15" name="Овал 114"/>
          <p:cNvSpPr/>
          <p:nvPr/>
        </p:nvSpPr>
        <p:spPr>
          <a:xfrm>
            <a:off x="3713364" y="2463556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cxnSp>
        <p:nvCxnSpPr>
          <p:cNvPr id="116" name="Прямая соединительная линия 115"/>
          <p:cNvCxnSpPr/>
          <p:nvPr/>
        </p:nvCxnSpPr>
        <p:spPr>
          <a:xfrm>
            <a:off x="3727639" y="1906432"/>
            <a:ext cx="167956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17" name="Овал 116"/>
          <p:cNvSpPr/>
          <p:nvPr/>
        </p:nvSpPr>
        <p:spPr>
          <a:xfrm>
            <a:off x="3713364" y="2035290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cxnSp>
        <p:nvCxnSpPr>
          <p:cNvPr id="118" name="Прямая соединительная линия 117"/>
          <p:cNvCxnSpPr/>
          <p:nvPr/>
        </p:nvCxnSpPr>
        <p:spPr>
          <a:xfrm>
            <a:off x="3727639" y="2345531"/>
            <a:ext cx="167956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9" name="Прямая соединительная линия 118"/>
          <p:cNvCxnSpPr/>
          <p:nvPr/>
        </p:nvCxnSpPr>
        <p:spPr>
          <a:xfrm>
            <a:off x="3717693" y="2763522"/>
            <a:ext cx="167956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20" name="Овал 119"/>
          <p:cNvSpPr/>
          <p:nvPr/>
        </p:nvSpPr>
        <p:spPr>
          <a:xfrm>
            <a:off x="3713364" y="2887098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cxnSp>
        <p:nvCxnSpPr>
          <p:cNvPr id="121" name="Прямая соединительная линия 120"/>
          <p:cNvCxnSpPr/>
          <p:nvPr/>
        </p:nvCxnSpPr>
        <p:spPr>
          <a:xfrm>
            <a:off x="3727639" y="3205198"/>
            <a:ext cx="167956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22" name="Овал 121"/>
          <p:cNvSpPr/>
          <p:nvPr/>
        </p:nvSpPr>
        <p:spPr>
          <a:xfrm>
            <a:off x="131596" y="2696369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123" name="Овал 122"/>
          <p:cNvSpPr/>
          <p:nvPr/>
        </p:nvSpPr>
        <p:spPr>
          <a:xfrm>
            <a:off x="3720501" y="3348724"/>
            <a:ext cx="165148" cy="165148"/>
          </a:xfrm>
          <a:prstGeom prst="ellipse">
            <a:avLst/>
          </a:pr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6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124" name="Прямоугольник 123"/>
          <p:cNvSpPr/>
          <p:nvPr/>
        </p:nvSpPr>
        <p:spPr>
          <a:xfrm>
            <a:off x="844093" y="1611517"/>
            <a:ext cx="227948" cy="2809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r>
              <a:rPr lang="en-US" sz="1226" dirty="0">
                <a:solidFill>
                  <a:srgbClr val="000000"/>
                </a:solidFill>
                <a:latin typeface="Arial"/>
              </a:rPr>
              <a:t>I</a:t>
            </a:r>
            <a:endParaRPr lang="ru-RU" sz="1226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5" name="Прямоугольник 124"/>
          <p:cNvSpPr/>
          <p:nvPr/>
        </p:nvSpPr>
        <p:spPr>
          <a:xfrm>
            <a:off x="1078878" y="1619906"/>
            <a:ext cx="271228" cy="2809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r>
              <a:rPr lang="en-US" sz="1226" dirty="0">
                <a:solidFill>
                  <a:srgbClr val="000000"/>
                </a:solidFill>
                <a:latin typeface="Arial"/>
              </a:rPr>
              <a:t>II</a:t>
            </a:r>
            <a:endParaRPr lang="ru-RU" sz="1226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6" name="Прямоугольник 125"/>
          <p:cNvSpPr/>
          <p:nvPr/>
        </p:nvSpPr>
        <p:spPr>
          <a:xfrm>
            <a:off x="2558158" y="1628009"/>
            <a:ext cx="314510" cy="2809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r>
              <a:rPr lang="en-US" sz="1226" dirty="0">
                <a:solidFill>
                  <a:srgbClr val="000000"/>
                </a:solidFill>
                <a:latin typeface="Arial"/>
              </a:rPr>
              <a:t>III</a:t>
            </a:r>
            <a:endParaRPr lang="ru-RU" sz="1226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7" name="Скругленный прямоугольник 126"/>
          <p:cNvSpPr/>
          <p:nvPr/>
        </p:nvSpPr>
        <p:spPr>
          <a:xfrm>
            <a:off x="51593" y="1510002"/>
            <a:ext cx="5282406" cy="2236498"/>
          </a:xfrm>
          <a:prstGeom prst="roundRect">
            <a:avLst>
              <a:gd name="adj" fmla="val 5935"/>
            </a:avLst>
          </a:prstGeom>
          <a:noFill/>
          <a:ln w="635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70038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79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Текст 6"/>
          <p:cNvSpPr txBox="1">
            <a:spLocks/>
          </p:cNvSpPr>
          <p:nvPr/>
        </p:nvSpPr>
        <p:spPr bwMode="auto">
          <a:xfrm>
            <a:off x="1744587" y="3749441"/>
            <a:ext cx="2570559" cy="390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2646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63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None/>
              <a:defRPr sz="2205"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008126" indent="0" algn="l" rtl="0" eaLnBrk="0" fontAlgn="base" hangingPunct="0">
              <a:spcBef>
                <a:spcPct val="0"/>
              </a:spcBef>
              <a:spcAft>
                <a:spcPct val="30000"/>
              </a:spcAft>
              <a:buNone/>
              <a:defRPr sz="1985" b="1">
                <a:solidFill>
                  <a:schemeClr val="tx1"/>
                </a:solidFill>
                <a:latin typeface="+mn-lt"/>
                <a:cs typeface="+mn-cs"/>
              </a:defRPr>
            </a:lvl3pPr>
            <a:lvl4pPr marL="1512189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4pPr>
            <a:lvl5pPr marL="2016252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5pPr>
            <a:lvl6pPr marL="2520315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3024378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3528441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4032504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764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622615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2" kern="0" dirty="0" smtClean="0">
                <a:solidFill>
                  <a:srgbClr val="FF0000"/>
                </a:solidFill>
                <a:latin typeface="Arial"/>
                <a:cs typeface="Arial"/>
              </a:rPr>
              <a:t>Было время 45 </a:t>
            </a:r>
            <a:r>
              <a:rPr lang="ru-RU" sz="1802" kern="0" dirty="0">
                <a:solidFill>
                  <a:srgbClr val="FF0000"/>
                </a:solidFill>
                <a:latin typeface="Arial"/>
                <a:cs typeface="Arial"/>
              </a:rPr>
              <a:t>мин</a:t>
            </a:r>
            <a:endParaRPr lang="ru-RU" sz="1501" kern="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131" name="Стрелка вправо 130"/>
          <p:cNvSpPr/>
          <p:nvPr/>
        </p:nvSpPr>
        <p:spPr>
          <a:xfrm>
            <a:off x="5261062" y="3845450"/>
            <a:ext cx="400958" cy="4686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9" name="TextBox 128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130" name="Прямоугольник 129"/>
          <p:cNvSpPr/>
          <p:nvPr/>
        </p:nvSpPr>
        <p:spPr>
          <a:xfrm>
            <a:off x="195566" y="4896506"/>
            <a:ext cx="558166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Процесс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2" name="Стрелка вниз 131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104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3630" y="1103097"/>
            <a:ext cx="2675391" cy="184942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839" y="1053174"/>
            <a:ext cx="2672574" cy="168048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57891" y="3053934"/>
            <a:ext cx="2216296" cy="151988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81175" y="2733661"/>
            <a:ext cx="2650608" cy="6468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8835"/>
            <a:r>
              <a:rPr lang="ru-RU" sz="901" dirty="0">
                <a:solidFill>
                  <a:srgbClr val="F8BFAA">
                    <a:lumMod val="10000"/>
                  </a:srgbClr>
                </a:solidFill>
                <a:latin typeface="Arial"/>
              </a:rPr>
              <a:t>Узкое место при предъявлении и сдаче паспортов представителю (непонятны отставание, опережение, проблемы, отсутствует </a:t>
            </a:r>
            <a:r>
              <a:rPr lang="en-US" sz="901" dirty="0">
                <a:solidFill>
                  <a:srgbClr val="F8BFAA">
                    <a:lumMod val="10000"/>
                  </a:srgbClr>
                </a:solidFill>
                <a:latin typeface="Arial"/>
              </a:rPr>
              <a:t>FIFO</a:t>
            </a:r>
            <a:r>
              <a:rPr lang="ru-RU" sz="901" dirty="0" smtClean="0">
                <a:solidFill>
                  <a:srgbClr val="F8BFAA">
                    <a:lumMod val="10000"/>
                  </a:srgbClr>
                </a:solidFill>
                <a:latin typeface="Arial"/>
              </a:rPr>
              <a:t>)</a:t>
            </a:r>
            <a:endParaRPr lang="ru-RU" sz="901" dirty="0">
              <a:solidFill>
                <a:srgbClr val="F8BFAA">
                  <a:lumMod val="10000"/>
                </a:srgbClr>
              </a:solidFill>
              <a:latin typeface="Arial"/>
            </a:endParaRPr>
          </a:p>
        </p:txBody>
      </p:sp>
      <p:sp>
        <p:nvSpPr>
          <p:cNvPr id="7" name="Равнобедренный треугольник 6"/>
          <p:cNvSpPr/>
          <p:nvPr/>
        </p:nvSpPr>
        <p:spPr>
          <a:xfrm rot="5400000">
            <a:off x="2225080" y="1959421"/>
            <a:ext cx="1743306" cy="19193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87839" y="949811"/>
            <a:ext cx="2672574" cy="2407675"/>
          </a:xfrm>
          <a:prstGeom prst="roundRect">
            <a:avLst>
              <a:gd name="adj" fmla="val 1849"/>
            </a:avLst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4774273" y="1220434"/>
            <a:ext cx="1729792" cy="1243288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10" name="Прямая со стрелкой 9"/>
          <p:cNvCxnSpPr>
            <a:stCxn id="9" idx="4"/>
          </p:cNvCxnSpPr>
          <p:nvPr/>
        </p:nvCxnSpPr>
        <p:spPr>
          <a:xfrm>
            <a:off x="5639169" y="2463722"/>
            <a:ext cx="458452" cy="755136"/>
          </a:xfrm>
          <a:prstGeom prst="straightConnector1">
            <a:avLst/>
          </a:prstGeom>
          <a:ln w="2222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405578" y="671225"/>
            <a:ext cx="2412418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98835"/>
            <a:r>
              <a:rPr lang="ru-RU" sz="1201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Традиционного тип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701285" y="4236053"/>
            <a:ext cx="1651908" cy="508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706" indent="-128706" defTabSz="698835">
              <a:buFont typeface="Arial" panose="020B0604020202020204" pitchFamily="34" charset="0"/>
              <a:buChar char="•"/>
            </a:pPr>
            <a:r>
              <a:rPr lang="ru-RU" sz="901" dirty="0">
                <a:solidFill>
                  <a:srgbClr val="F8BFAA">
                    <a:lumMod val="10000"/>
                  </a:srgbClr>
                </a:solidFill>
                <a:latin typeface="Arial"/>
              </a:rPr>
              <a:t>Визуальное управление:</a:t>
            </a:r>
            <a:br>
              <a:rPr lang="ru-RU" sz="901" dirty="0">
                <a:solidFill>
                  <a:srgbClr val="F8BFAA">
                    <a:lumMod val="10000"/>
                  </a:srgbClr>
                </a:solidFill>
                <a:latin typeface="Arial"/>
              </a:rPr>
            </a:br>
            <a:r>
              <a:rPr lang="ru-RU" sz="901" dirty="0">
                <a:solidFill>
                  <a:srgbClr val="F8BFAA">
                    <a:lumMod val="10000"/>
                  </a:srgbClr>
                </a:solidFill>
                <a:latin typeface="Arial"/>
              </a:rPr>
              <a:t>отставание и опережение + </a:t>
            </a:r>
            <a:r>
              <a:rPr lang="en-US" sz="901" dirty="0">
                <a:solidFill>
                  <a:srgbClr val="F8BFAA">
                    <a:lumMod val="10000"/>
                  </a:srgbClr>
                </a:solidFill>
                <a:latin typeface="Arial"/>
              </a:rPr>
              <a:t>FIFO</a:t>
            </a:r>
            <a:endParaRPr lang="ru-RU" sz="901" dirty="0">
              <a:solidFill>
                <a:srgbClr val="F8BFAA">
                  <a:lumMod val="10000"/>
                </a:srgbClr>
              </a:solidFill>
              <a:latin typeface="Arial"/>
            </a:endParaRPr>
          </a:p>
        </p:txBody>
      </p:sp>
      <p:cxnSp>
        <p:nvCxnSpPr>
          <p:cNvPr id="13" name="Прямая со стрелкой 12"/>
          <p:cNvCxnSpPr/>
          <p:nvPr/>
        </p:nvCxnSpPr>
        <p:spPr>
          <a:xfrm flipH="1">
            <a:off x="5249034" y="4138944"/>
            <a:ext cx="296721" cy="97109"/>
          </a:xfrm>
          <a:prstGeom prst="straightConnector1">
            <a:avLst/>
          </a:prstGeom>
          <a:ln w="2222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Скругленный прямоугольник 13"/>
          <p:cNvSpPr/>
          <p:nvPr/>
        </p:nvSpPr>
        <p:spPr>
          <a:xfrm>
            <a:off x="5542289" y="3601196"/>
            <a:ext cx="730687" cy="852390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565219" y="3316158"/>
            <a:ext cx="730687" cy="285037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16" name="Прямая со стрелкой 15"/>
          <p:cNvCxnSpPr>
            <a:stCxn id="15" idx="1"/>
          </p:cNvCxnSpPr>
          <p:nvPr/>
        </p:nvCxnSpPr>
        <p:spPr>
          <a:xfrm flipH="1">
            <a:off x="5225604" y="3458677"/>
            <a:ext cx="339615" cy="175188"/>
          </a:xfrm>
          <a:prstGeom prst="straightConnector1">
            <a:avLst/>
          </a:prstGeom>
          <a:ln w="2222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3709798" y="3601195"/>
            <a:ext cx="1681952" cy="6468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706" indent="-128706" defTabSz="698835">
              <a:buFont typeface="Arial" panose="020B0604020202020204" pitchFamily="34" charset="0"/>
              <a:buChar char="•"/>
            </a:pPr>
            <a:r>
              <a:rPr lang="ru-RU" sz="901" dirty="0">
                <a:solidFill>
                  <a:srgbClr val="F8BFAA">
                    <a:lumMod val="10000"/>
                  </a:srgbClr>
                </a:solidFill>
                <a:latin typeface="Arial"/>
              </a:rPr>
              <a:t>Выделены паспорта, запускаемые без ВК </a:t>
            </a:r>
            <a:br>
              <a:rPr lang="ru-RU" sz="901" dirty="0">
                <a:solidFill>
                  <a:srgbClr val="F8BFAA">
                    <a:lumMod val="10000"/>
                  </a:srgbClr>
                </a:solidFill>
                <a:latin typeface="Arial"/>
              </a:rPr>
            </a:br>
            <a:r>
              <a:rPr lang="ru-RU" sz="901" dirty="0">
                <a:solidFill>
                  <a:srgbClr val="F8BFAA">
                    <a:lumMod val="10000"/>
                  </a:srgbClr>
                </a:solidFill>
                <a:latin typeface="Arial"/>
              </a:rPr>
              <a:t>(по отдельному маршруту) 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7019994" y="3218858"/>
            <a:ext cx="569512" cy="1082685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19" name="Прямая со стрелкой 18"/>
          <p:cNvCxnSpPr/>
          <p:nvPr/>
        </p:nvCxnSpPr>
        <p:spPr>
          <a:xfrm flipV="1">
            <a:off x="7598313" y="3925531"/>
            <a:ext cx="236766" cy="54056"/>
          </a:xfrm>
          <a:prstGeom prst="straightConnector1">
            <a:avLst/>
          </a:prstGeom>
          <a:ln w="2222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>
            <a:off x="7686748" y="3742417"/>
            <a:ext cx="1152997" cy="924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706" indent="-128706" defTabSz="698835">
              <a:buFont typeface="Arial" panose="020B0604020202020204" pitchFamily="34" charset="0"/>
              <a:buChar char="•"/>
            </a:pPr>
            <a:r>
              <a:rPr lang="ru-RU" sz="901" dirty="0">
                <a:solidFill>
                  <a:srgbClr val="F8BFAA">
                    <a:lumMod val="10000"/>
                  </a:srgbClr>
                </a:solidFill>
                <a:latin typeface="Arial"/>
              </a:rPr>
              <a:t>Визуализация проблем (остановок паспортов) </a:t>
            </a:r>
            <a:br>
              <a:rPr lang="ru-RU" sz="901" dirty="0">
                <a:solidFill>
                  <a:srgbClr val="F8BFAA">
                    <a:lumMod val="10000"/>
                  </a:srgbClr>
                </a:solidFill>
                <a:latin typeface="Arial"/>
              </a:rPr>
            </a:br>
            <a:r>
              <a:rPr lang="ru-RU" sz="901" dirty="0">
                <a:solidFill>
                  <a:srgbClr val="F8BFAA">
                    <a:lumMod val="10000"/>
                  </a:srgbClr>
                </a:solidFill>
                <a:latin typeface="Arial"/>
              </a:rPr>
              <a:t>по КД и снабжению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 flipV="1">
            <a:off x="3383652" y="940928"/>
            <a:ext cx="0" cy="3806125"/>
          </a:xfrm>
          <a:prstGeom prst="line">
            <a:avLst/>
          </a:prstGeom>
          <a:ln w="412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192337" y="645301"/>
            <a:ext cx="3837976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62799"/>
            <a:r>
              <a:rPr lang="ru-RU" sz="1201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На принципах бережливого производства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3383652" y="940928"/>
            <a:ext cx="5492033" cy="0"/>
          </a:xfrm>
          <a:prstGeom prst="line">
            <a:avLst/>
          </a:prstGeom>
          <a:ln w="412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 flipV="1">
            <a:off x="8875685" y="959429"/>
            <a:ext cx="0" cy="3776943"/>
          </a:xfrm>
          <a:prstGeom prst="line">
            <a:avLst/>
          </a:prstGeom>
          <a:ln w="412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3383652" y="4736371"/>
            <a:ext cx="5492033" cy="0"/>
          </a:xfrm>
          <a:prstGeom prst="line">
            <a:avLst/>
          </a:prstGeom>
          <a:ln w="412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3383652" y="4767101"/>
            <a:ext cx="5550948" cy="323165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algn="ctr" defTabSz="662799">
              <a:lnSpc>
                <a:spcPts val="1840"/>
              </a:lnSpc>
            </a:pP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Минимизация ошибок и </a:t>
            </a:r>
            <a:r>
              <a:rPr lang="ru-RU" sz="1305" dirty="0" err="1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пролеживания</a:t>
            </a: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 </a:t>
            </a:r>
            <a:r>
              <a:rPr lang="ru-RU" sz="1305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документов </a:t>
            </a: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с </a:t>
            </a:r>
            <a:r>
              <a:rPr lang="ru-RU" sz="2000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10</a:t>
            </a: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 до </a:t>
            </a:r>
            <a:r>
              <a:rPr lang="ru-RU" sz="2000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1</a:t>
            </a: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 дня</a:t>
            </a:r>
            <a:endParaRPr lang="ru-RU" sz="1305" dirty="0">
              <a:solidFill>
                <a:srgbClr val="F8BFAA">
                  <a:lumMod val="10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846486" y="207892"/>
            <a:ext cx="3379130" cy="359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62799"/>
            <a:r>
              <a:rPr lang="ru-RU" sz="1739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Производственные системы</a:t>
            </a:r>
          </a:p>
        </p:txBody>
      </p:sp>
      <p:sp>
        <p:nvSpPr>
          <p:cNvPr id="30" name="Овал 29"/>
          <p:cNvSpPr/>
          <p:nvPr/>
        </p:nvSpPr>
        <p:spPr>
          <a:xfrm>
            <a:off x="405578" y="2908638"/>
            <a:ext cx="260979" cy="27387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2799"/>
            <a:r>
              <a:rPr lang="ru-RU" sz="1739" b="1" dirty="0">
                <a:solidFill>
                  <a:srgbClr val="FFFFFF"/>
                </a:solidFill>
                <a:latin typeface="Arial"/>
              </a:rPr>
              <a:t>_</a:t>
            </a:r>
            <a:r>
              <a:rPr lang="ru-RU" sz="1739" dirty="0">
                <a:solidFill>
                  <a:srgbClr val="FFFFFF"/>
                </a:solidFill>
                <a:latin typeface="Arial"/>
              </a:rPr>
              <a:t>_</a:t>
            </a:r>
          </a:p>
        </p:txBody>
      </p:sp>
      <p:sp>
        <p:nvSpPr>
          <p:cNvPr id="31" name="Овал 30"/>
          <p:cNvSpPr/>
          <p:nvPr/>
        </p:nvSpPr>
        <p:spPr>
          <a:xfrm>
            <a:off x="3479360" y="3570466"/>
            <a:ext cx="260979" cy="27387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2799"/>
            <a:r>
              <a:rPr lang="ru-RU" sz="3479" dirty="0">
                <a:solidFill>
                  <a:srgbClr val="FFFFFF"/>
                </a:solidFill>
                <a:latin typeface="Arial"/>
              </a:rPr>
              <a:t>+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1251099" y="4865882"/>
            <a:ext cx="6028520" cy="254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62799"/>
            <a:r>
              <a:rPr lang="ru-RU" sz="1052" kern="0" dirty="0" smtClean="0">
                <a:solidFill>
                  <a:srgbClr val="003274"/>
                </a:solidFill>
                <a:latin typeface="Arial"/>
                <a:cs typeface="Times New Roman" panose="02020603050405020304" pitchFamily="18" charset="0"/>
              </a:rPr>
              <a:t>Полесье, Волгодонск</a:t>
            </a:r>
            <a:endParaRPr lang="ru-RU" sz="1052" kern="0" dirty="0">
              <a:solidFill>
                <a:srgbClr val="003274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95566" y="4896506"/>
            <a:ext cx="631904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ПС РРАПП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5" name="Стрелка вниз 34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8834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003421" y="204482"/>
            <a:ext cx="3379130" cy="3599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62799"/>
            <a:r>
              <a:rPr lang="ru-RU" sz="1739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Производственные системы</a:t>
            </a:r>
          </a:p>
        </p:txBody>
      </p:sp>
      <p:cxnSp>
        <p:nvCxnSpPr>
          <p:cNvPr id="3" name="Прямая со стрелкой 2"/>
          <p:cNvCxnSpPr/>
          <p:nvPr/>
        </p:nvCxnSpPr>
        <p:spPr>
          <a:xfrm flipH="1">
            <a:off x="3598992" y="831082"/>
            <a:ext cx="148159" cy="14897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 стрелкой 3"/>
          <p:cNvCxnSpPr/>
          <p:nvPr/>
        </p:nvCxnSpPr>
        <p:spPr>
          <a:xfrm>
            <a:off x="5761185" y="867757"/>
            <a:ext cx="160013" cy="148970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1382696" y="770611"/>
            <a:ext cx="2781687" cy="493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62799"/>
            <a:r>
              <a:rPr lang="ru-RU" sz="1305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Традиционного </a:t>
            </a:r>
            <a:br>
              <a:rPr lang="ru-RU" sz="1305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</a:br>
            <a:r>
              <a:rPr lang="ru-RU" sz="1305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типа</a:t>
            </a:r>
            <a:endParaRPr lang="ru-RU" sz="1305" b="1" dirty="0">
              <a:solidFill>
                <a:srgbClr val="F8BFAA">
                  <a:lumMod val="10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052291" y="797379"/>
            <a:ext cx="2557593" cy="493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62799"/>
            <a:r>
              <a:rPr lang="ru-RU" sz="1305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На </a:t>
            </a:r>
            <a:r>
              <a:rPr lang="ru-RU" sz="1305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принципах </a:t>
            </a:r>
            <a:br>
              <a:rPr lang="ru-RU" sz="1305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</a:br>
            <a:r>
              <a:rPr lang="ru-RU" sz="1305" b="1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бережливого </a:t>
            </a:r>
            <a:r>
              <a:rPr lang="ru-RU" sz="1305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производства</a:t>
            </a:r>
          </a:p>
        </p:txBody>
      </p:sp>
      <p:pic>
        <p:nvPicPr>
          <p:cNvPr id="7" name="Picture 1" descr="\\Abrosimov_am\Obmen\ПСР\Упаковка\Фото\IMG_7046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50392" y="1292066"/>
            <a:ext cx="2791453" cy="2095057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  <p:pic>
        <p:nvPicPr>
          <p:cNvPr id="8" name="Picture 2" descr="\\Abrosimov_am\Obmen\ПСР\Упаковка\фото участка\упаковка 001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07926" y="1258728"/>
            <a:ext cx="2756457" cy="2067343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  <p:sp>
        <p:nvSpPr>
          <p:cNvPr id="9" name="Прямоугольник 8"/>
          <p:cNvSpPr/>
          <p:nvPr/>
        </p:nvSpPr>
        <p:spPr>
          <a:xfrm>
            <a:off x="4953736" y="4236680"/>
            <a:ext cx="2757810" cy="553998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algn="ctr" defTabSz="662799">
              <a:lnSpc>
                <a:spcPts val="1840"/>
              </a:lnSpc>
            </a:pPr>
            <a:r>
              <a:rPr lang="ru-RU" sz="1305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Сокращение</a:t>
            </a:r>
            <a:br>
              <a:rPr lang="ru-RU" sz="1305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</a:b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Время </a:t>
            </a:r>
            <a:r>
              <a:rPr lang="ru-RU" sz="1305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в </a:t>
            </a:r>
            <a:r>
              <a:rPr lang="ru-RU" sz="2030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5</a:t>
            </a:r>
            <a:r>
              <a:rPr lang="ru-RU" sz="1305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 раз </a:t>
            </a:r>
            <a:r>
              <a:rPr lang="ru-RU" sz="1305" dirty="0" smtClean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запасы </a:t>
            </a:r>
            <a:r>
              <a:rPr lang="ru-RU" sz="1305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в </a:t>
            </a:r>
            <a:r>
              <a:rPr lang="ru-RU" sz="2030" b="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15</a:t>
            </a:r>
            <a:r>
              <a:rPr lang="ru-RU" sz="1305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 раз</a:t>
            </a:r>
          </a:p>
        </p:txBody>
      </p:sp>
      <p:sp>
        <p:nvSpPr>
          <p:cNvPr id="10" name="Овал 9"/>
          <p:cNvSpPr/>
          <p:nvPr/>
        </p:nvSpPr>
        <p:spPr>
          <a:xfrm>
            <a:off x="5306867" y="3591469"/>
            <a:ext cx="260979" cy="27387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2799"/>
            <a:r>
              <a:rPr lang="ru-RU" sz="3479" dirty="0">
                <a:solidFill>
                  <a:srgbClr val="FFFFFF"/>
                </a:solidFill>
                <a:latin typeface="Arial"/>
              </a:rPr>
              <a:t>+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693974" y="3414215"/>
            <a:ext cx="1631152" cy="785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2799"/>
            <a:r>
              <a:rPr lang="ru-RU" sz="150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Прозрачность</a:t>
            </a:r>
          </a:p>
          <a:p>
            <a:pPr defTabSz="662799"/>
            <a:r>
              <a:rPr lang="ru-RU" sz="150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Управляемость</a:t>
            </a:r>
          </a:p>
          <a:p>
            <a:pPr defTabSz="662799"/>
            <a:r>
              <a:rPr lang="ru-RU" sz="150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Эффективност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706740" y="3414215"/>
            <a:ext cx="2418675" cy="785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62799"/>
            <a:r>
              <a:rPr lang="ru-RU" sz="150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Невидимые потери</a:t>
            </a:r>
          </a:p>
          <a:p>
            <a:pPr defTabSz="662799"/>
            <a:r>
              <a:rPr lang="ru-RU" sz="150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Скрытые колебания</a:t>
            </a:r>
          </a:p>
          <a:p>
            <a:pPr defTabSz="662799"/>
            <a:r>
              <a:rPr lang="ru-RU" sz="1501" dirty="0">
                <a:solidFill>
                  <a:srgbClr val="F8BFAA">
                    <a:lumMod val="10000"/>
                  </a:srgbClr>
                </a:solidFill>
                <a:latin typeface="Arial"/>
                <a:cs typeface="Arial"/>
              </a:rPr>
              <a:t>Замороженные средства</a:t>
            </a:r>
          </a:p>
        </p:txBody>
      </p:sp>
      <p:sp>
        <p:nvSpPr>
          <p:cNvPr id="13" name="Овал 12"/>
          <p:cNvSpPr/>
          <p:nvPr/>
        </p:nvSpPr>
        <p:spPr>
          <a:xfrm>
            <a:off x="1382696" y="3591468"/>
            <a:ext cx="260979" cy="27387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2799"/>
            <a:r>
              <a:rPr lang="ru-RU" sz="1739" b="1" dirty="0">
                <a:solidFill>
                  <a:srgbClr val="FFFFFF"/>
                </a:solidFill>
                <a:latin typeface="Arial"/>
              </a:rPr>
              <a:t>_</a:t>
            </a:r>
            <a:r>
              <a:rPr lang="ru-RU" sz="1739" dirty="0">
                <a:solidFill>
                  <a:srgbClr val="FFFFFF"/>
                </a:solidFill>
                <a:latin typeface="Arial"/>
              </a:rPr>
              <a:t>_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513185" y="4894026"/>
            <a:ext cx="6028520" cy="254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62799"/>
            <a:r>
              <a:rPr lang="ru-RU" sz="1052" kern="0" dirty="0">
                <a:solidFill>
                  <a:srgbClr val="003274"/>
                </a:solidFill>
                <a:latin typeface="Arial"/>
                <a:cs typeface="Times New Roman" panose="02020603050405020304" pitchFamily="18" charset="0"/>
              </a:rPr>
              <a:t>Гидропресс, Подольск. </a:t>
            </a:r>
            <a:r>
              <a:rPr lang="ru-RU" sz="1052" kern="0" dirty="0" smtClean="0">
                <a:solidFill>
                  <a:srgbClr val="003274"/>
                </a:solidFill>
                <a:latin typeface="Arial"/>
                <a:cs typeface="Times New Roman" panose="02020603050405020304" pitchFamily="18" charset="0"/>
              </a:rPr>
              <a:t>Изготовление приводов </a:t>
            </a:r>
            <a:r>
              <a:rPr lang="ru-RU" sz="1052" kern="0" dirty="0">
                <a:solidFill>
                  <a:srgbClr val="003274"/>
                </a:solidFill>
                <a:latin typeface="Arial"/>
                <a:cs typeface="Times New Roman" panose="02020603050405020304" pitchFamily="18" charset="0"/>
              </a:rPr>
              <a:t>системы управления и защиты АЭС</a:t>
            </a:r>
          </a:p>
        </p:txBody>
      </p:sp>
      <p:sp>
        <p:nvSpPr>
          <p:cNvPr id="15" name="Равнобедренный треугольник 14"/>
          <p:cNvSpPr/>
          <p:nvPr/>
        </p:nvSpPr>
        <p:spPr>
          <a:xfrm rot="5400000">
            <a:off x="3493797" y="2196431"/>
            <a:ext cx="1743306" cy="19193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98835"/>
            <a:endParaRPr lang="ru-RU" sz="150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195566" y="4896506"/>
            <a:ext cx="704039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ПС Полесье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9" name="Стрелка вниз 18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7540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Прямая соединительная линия 38"/>
          <p:cNvCxnSpPr/>
          <p:nvPr/>
        </p:nvCxnSpPr>
        <p:spPr>
          <a:xfrm>
            <a:off x="1984424" y="1308360"/>
            <a:ext cx="4910108" cy="0"/>
          </a:xfrm>
          <a:prstGeom prst="line">
            <a:avLst/>
          </a:prstGeom>
          <a:ln w="76200">
            <a:solidFill>
              <a:srgbClr val="212121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5923" y="1166949"/>
            <a:ext cx="427117" cy="1223612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9303" y="1135467"/>
            <a:ext cx="490914" cy="1221558"/>
          </a:xfrm>
          <a:prstGeom prst="rect">
            <a:avLst/>
          </a:prstGeom>
        </p:spPr>
      </p:pic>
      <p:sp>
        <p:nvSpPr>
          <p:cNvPr id="9" name="Объект 8"/>
          <p:cNvSpPr>
            <a:spLocks noGrp="1"/>
          </p:cNvSpPr>
          <p:nvPr>
            <p:ph idx="1"/>
          </p:nvPr>
        </p:nvSpPr>
        <p:spPr>
          <a:xfrm>
            <a:off x="987136" y="689786"/>
            <a:ext cx="7203542" cy="249299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10255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ru-RU" sz="1800" dirty="0"/>
              <a:t>Любой процесс создания продукта можно разделить на три вида работ:</a:t>
            </a:r>
          </a:p>
        </p:txBody>
      </p:sp>
      <p:sp>
        <p:nvSpPr>
          <p:cNvPr id="12" name="Объект 8"/>
          <p:cNvSpPr txBox="1">
            <a:spLocks/>
          </p:cNvSpPr>
          <p:nvPr/>
        </p:nvSpPr>
        <p:spPr>
          <a:xfrm>
            <a:off x="2152365" y="2496950"/>
            <a:ext cx="1164292" cy="11368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5" b="1" dirty="0">
                <a:solidFill>
                  <a:schemeClr val="tx1"/>
                </a:solidFill>
              </a:rPr>
              <a:t>Потери</a:t>
            </a:r>
          </a:p>
          <a:p>
            <a:pPr lvl="1"/>
            <a:r>
              <a:rPr lang="ru-RU" sz="1005" dirty="0">
                <a:solidFill>
                  <a:schemeClr val="tx1"/>
                </a:solidFill>
              </a:rPr>
              <a:t>Работа, которая не добавляет ценности продукту.</a:t>
            </a:r>
          </a:p>
        </p:txBody>
      </p:sp>
      <p:sp>
        <p:nvSpPr>
          <p:cNvPr id="13" name="Объект 8"/>
          <p:cNvSpPr txBox="1">
            <a:spLocks/>
          </p:cNvSpPr>
          <p:nvPr/>
        </p:nvSpPr>
        <p:spPr>
          <a:xfrm>
            <a:off x="3625121" y="2502686"/>
            <a:ext cx="1627469" cy="10794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5" b="1" dirty="0">
                <a:solidFill>
                  <a:schemeClr val="tx1"/>
                </a:solidFill>
              </a:rPr>
              <a:t>Незначимая работа</a:t>
            </a:r>
          </a:p>
          <a:p>
            <a:pPr lvl="1"/>
            <a:r>
              <a:rPr lang="ru-RU" sz="1005" dirty="0">
                <a:solidFill>
                  <a:schemeClr val="tx1"/>
                </a:solidFill>
              </a:rPr>
              <a:t>Работа, которая не добавляет ценности продукту, но при текущем состоянии производства без нее обойтись невозможно.</a:t>
            </a:r>
          </a:p>
        </p:txBody>
      </p:sp>
      <p:sp>
        <p:nvSpPr>
          <p:cNvPr id="14" name="Объект 8"/>
          <p:cNvSpPr txBox="1">
            <a:spLocks/>
          </p:cNvSpPr>
          <p:nvPr/>
        </p:nvSpPr>
        <p:spPr>
          <a:xfrm>
            <a:off x="5649429" y="2496950"/>
            <a:ext cx="1461003" cy="11368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5" b="1" dirty="0">
                <a:solidFill>
                  <a:schemeClr val="tx1"/>
                </a:solidFill>
              </a:rPr>
              <a:t>Значимая работа</a:t>
            </a:r>
          </a:p>
          <a:p>
            <a:pPr lvl="1"/>
            <a:r>
              <a:rPr lang="ru-RU" sz="1005" dirty="0">
                <a:solidFill>
                  <a:schemeClr val="tx1"/>
                </a:solidFill>
              </a:rPr>
              <a:t>Работа, которую необходимо выполнять для обеспечения требований заказчика и добавления ценностей.</a:t>
            </a:r>
          </a:p>
        </p:txBody>
      </p:sp>
      <p:sp>
        <p:nvSpPr>
          <p:cNvPr id="15" name="Объект 8"/>
          <p:cNvSpPr txBox="1">
            <a:spLocks/>
          </p:cNvSpPr>
          <p:nvPr/>
        </p:nvSpPr>
        <p:spPr>
          <a:xfrm>
            <a:off x="3932200" y="1157317"/>
            <a:ext cx="830804" cy="28689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ru-RU" sz="1367" b="1" dirty="0">
                <a:solidFill>
                  <a:srgbClr val="212121"/>
                </a:solidFill>
              </a:rPr>
              <a:t>Процесс</a:t>
            </a:r>
          </a:p>
        </p:txBody>
      </p:sp>
      <p:sp>
        <p:nvSpPr>
          <p:cNvPr id="16" name="Объект 8"/>
          <p:cNvSpPr txBox="1">
            <a:spLocks/>
          </p:cNvSpPr>
          <p:nvPr/>
        </p:nvSpPr>
        <p:spPr>
          <a:xfrm>
            <a:off x="1227025" y="2503349"/>
            <a:ext cx="471328" cy="16468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ru-RU" sz="1094" b="1" dirty="0">
                <a:solidFill>
                  <a:srgbClr val="212121"/>
                </a:solidFill>
              </a:rPr>
              <a:t>Я</a:t>
            </a:r>
          </a:p>
        </p:txBody>
      </p:sp>
      <p:sp>
        <p:nvSpPr>
          <p:cNvPr id="17" name="Объект 8"/>
          <p:cNvSpPr txBox="1">
            <a:spLocks/>
          </p:cNvSpPr>
          <p:nvPr/>
        </p:nvSpPr>
        <p:spPr>
          <a:xfrm>
            <a:off x="7155243" y="2398430"/>
            <a:ext cx="911051" cy="5392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ru-RU" sz="1094" b="1" dirty="0">
                <a:solidFill>
                  <a:srgbClr val="212121"/>
                </a:solidFill>
              </a:rPr>
              <a:t>Заказчик</a:t>
            </a:r>
          </a:p>
          <a:p>
            <a:pPr lvl="1" algn="ctr"/>
            <a:r>
              <a:rPr lang="ru-RU" sz="1094" b="1" dirty="0">
                <a:solidFill>
                  <a:srgbClr val="212121"/>
                </a:solidFill>
              </a:rPr>
              <a:t>(внутренний и внешний)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988149" y="1608917"/>
            <a:ext cx="3515861" cy="732985"/>
          </a:xfrm>
          <a:prstGeom prst="rect">
            <a:avLst/>
          </a:prstGeom>
          <a:solidFill>
            <a:srgbClr val="FF5D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35"/>
          </a:p>
        </p:txBody>
      </p:sp>
      <p:sp>
        <p:nvSpPr>
          <p:cNvPr id="22" name="Прямоугольник 21"/>
          <p:cNvSpPr/>
          <p:nvPr/>
        </p:nvSpPr>
        <p:spPr>
          <a:xfrm>
            <a:off x="5504010" y="1608917"/>
            <a:ext cx="826819" cy="732985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35"/>
          </a:p>
        </p:txBody>
      </p:sp>
      <p:sp>
        <p:nvSpPr>
          <p:cNvPr id="23" name="Прямоугольник 22"/>
          <p:cNvSpPr/>
          <p:nvPr/>
        </p:nvSpPr>
        <p:spPr>
          <a:xfrm>
            <a:off x="6330829" y="1608917"/>
            <a:ext cx="443589" cy="732985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35"/>
          </a:p>
        </p:txBody>
      </p:sp>
      <p:sp>
        <p:nvSpPr>
          <p:cNvPr id="26" name="Равнобедренный треугольник 25"/>
          <p:cNvSpPr/>
          <p:nvPr/>
        </p:nvSpPr>
        <p:spPr>
          <a:xfrm rot="5400000">
            <a:off x="6093513" y="1846232"/>
            <a:ext cx="732985" cy="258352"/>
          </a:xfrm>
          <a:prstGeom prst="triangle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35"/>
          </a:p>
        </p:txBody>
      </p:sp>
      <p:sp>
        <p:nvSpPr>
          <p:cNvPr id="25" name="Равнобедренный треугольник 24"/>
          <p:cNvSpPr/>
          <p:nvPr/>
        </p:nvSpPr>
        <p:spPr>
          <a:xfrm rot="5400000">
            <a:off x="5266694" y="1846232"/>
            <a:ext cx="732985" cy="258352"/>
          </a:xfrm>
          <a:prstGeom prst="triangle">
            <a:avLst/>
          </a:prstGeom>
          <a:solidFill>
            <a:srgbClr val="FF5D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35"/>
          </a:p>
        </p:txBody>
      </p:sp>
      <p:sp>
        <p:nvSpPr>
          <p:cNvPr id="27" name="Равнобедренный треугольник 26"/>
          <p:cNvSpPr/>
          <p:nvPr/>
        </p:nvSpPr>
        <p:spPr>
          <a:xfrm rot="5400000">
            <a:off x="6537102" y="1846232"/>
            <a:ext cx="732985" cy="258352"/>
          </a:xfrm>
          <a:prstGeom prst="triangle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35"/>
          </a:p>
        </p:txBody>
      </p:sp>
      <p:sp>
        <p:nvSpPr>
          <p:cNvPr id="28" name="Овал 27"/>
          <p:cNvSpPr/>
          <p:nvPr/>
        </p:nvSpPr>
        <p:spPr>
          <a:xfrm>
            <a:off x="2442628" y="1846232"/>
            <a:ext cx="258352" cy="258352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35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9" name="Овал 28"/>
          <p:cNvSpPr/>
          <p:nvPr/>
        </p:nvSpPr>
        <p:spPr>
          <a:xfrm>
            <a:off x="5918686" y="1846232"/>
            <a:ext cx="258352" cy="258352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35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0" name="Овал 29"/>
          <p:cNvSpPr/>
          <p:nvPr/>
        </p:nvSpPr>
        <p:spPr>
          <a:xfrm>
            <a:off x="6627515" y="1846232"/>
            <a:ext cx="258352" cy="258352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35" b="1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31" name="Изображение 9" descr="noun_26799_cc.png"/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636"/>
          <a:stretch/>
        </p:blipFill>
        <p:spPr>
          <a:xfrm>
            <a:off x="487683" y="3732215"/>
            <a:ext cx="1082534" cy="943074"/>
          </a:xfrm>
          <a:prstGeom prst="rect">
            <a:avLst/>
          </a:prstGeom>
        </p:spPr>
      </p:pic>
      <p:sp>
        <p:nvSpPr>
          <p:cNvPr id="38" name="Овал 37"/>
          <p:cNvSpPr/>
          <p:nvPr/>
        </p:nvSpPr>
        <p:spPr>
          <a:xfrm>
            <a:off x="1853987" y="2506604"/>
            <a:ext cx="258352" cy="258352"/>
          </a:xfrm>
          <a:prstGeom prst="ellipse">
            <a:avLst/>
          </a:prstGeom>
          <a:solidFill>
            <a:srgbClr val="FF5D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35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0" name="Овал 39"/>
          <p:cNvSpPr/>
          <p:nvPr/>
        </p:nvSpPr>
        <p:spPr>
          <a:xfrm>
            <a:off x="3316657" y="2496950"/>
            <a:ext cx="258352" cy="258352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35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1" name="Овал 40"/>
          <p:cNvSpPr/>
          <p:nvPr/>
        </p:nvSpPr>
        <p:spPr>
          <a:xfrm>
            <a:off x="5339097" y="2496950"/>
            <a:ext cx="258352" cy="258352"/>
          </a:xfrm>
          <a:prstGeom prst="ellipse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35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1663040" y="3795058"/>
            <a:ext cx="6982234" cy="896615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8477" tIns="34239" rIns="68477" bIns="34239" rtlCol="0" anchor="ctr"/>
          <a:lstStyle/>
          <a:p>
            <a:r>
              <a:rPr lang="ru-RU" sz="1498" b="1" dirty="0">
                <a:solidFill>
                  <a:srgbClr val="002060"/>
                </a:solidFill>
              </a:rPr>
              <a:t>Все, что мы делаем – это анализируем время от момента размещения заказа до получения оплаты и сокращаем это время исключая потери, не добавляющие ценность</a:t>
            </a:r>
          </a:p>
        </p:txBody>
      </p:sp>
      <p:pic>
        <p:nvPicPr>
          <p:cNvPr id="37" name="Picture 6" descr="http://www.leaninfo.ru/wp-content/uploads/2010/03/2010-03-02_000030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857" r="-495"/>
          <a:stretch/>
        </p:blipFill>
        <p:spPr bwMode="auto">
          <a:xfrm>
            <a:off x="668828" y="3519181"/>
            <a:ext cx="856148" cy="1159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Заголовок 2"/>
          <p:cNvSpPr txBox="1">
            <a:spLocks/>
          </p:cNvSpPr>
          <p:nvPr/>
        </p:nvSpPr>
        <p:spPr>
          <a:xfrm>
            <a:off x="1045479" y="231140"/>
            <a:ext cx="6758671" cy="581660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b="1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Из чего состоит процесс?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7</a:t>
            </a:r>
            <a:endParaRPr lang="ru-RU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195566" y="4896506"/>
            <a:ext cx="508473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Потери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4" name="Стрелка вниз 33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6264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Заголовок 3"/>
          <p:cNvSpPr>
            <a:spLocks noGrp="1"/>
          </p:cNvSpPr>
          <p:nvPr>
            <p:ph type="title"/>
          </p:nvPr>
        </p:nvSpPr>
        <p:spPr>
          <a:xfrm>
            <a:off x="927291" y="53761"/>
            <a:ext cx="6655410" cy="721519"/>
          </a:xfrm>
        </p:spPr>
        <p:txBody>
          <a:bodyPr lIns="0" tIns="0" rIns="0" bIns="0"/>
          <a:lstStyle/>
          <a:p>
            <a:pPr algn="ctr"/>
            <a:r>
              <a:rPr lang="ru-RU" altLang="ru-RU" sz="1800" b="1" dirty="0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  <a:t/>
            </a:r>
            <a:br>
              <a:rPr lang="ru-RU" altLang="ru-RU" sz="1800" b="1" dirty="0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</a:br>
            <a:r>
              <a:rPr lang="ru-RU" altLang="ru-RU" sz="1800" b="1" dirty="0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  <a:t>«Потери любой вид деятельности за который заказчик не готов платить … »  </a:t>
            </a:r>
            <a:r>
              <a:rPr lang="en-US" altLang="ru-RU" sz="1800" b="1" dirty="0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  <a:t>	</a:t>
            </a:r>
            <a:r>
              <a:rPr lang="ru-RU" altLang="ru-RU" sz="1800" b="1" dirty="0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  <a:t>(</a:t>
            </a:r>
            <a:r>
              <a:rPr lang="ru-RU" altLang="ru-RU" sz="1800" b="1" dirty="0" err="1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  <a:t>Тайити</a:t>
            </a:r>
            <a:r>
              <a:rPr lang="ru-RU" altLang="ru-RU" sz="1800" b="1" dirty="0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  <a:t> </a:t>
            </a:r>
            <a:r>
              <a:rPr lang="ru-RU" altLang="ru-RU" sz="1800" b="1" dirty="0" err="1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  <a:t>Óно</a:t>
            </a:r>
            <a:r>
              <a:rPr lang="ru-RU" altLang="ru-RU" sz="1800" b="1" dirty="0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  <a:t>  компания </a:t>
            </a:r>
            <a:r>
              <a:rPr lang="en-US" altLang="ru-RU" sz="1800" b="1" dirty="0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  <a:t>“</a:t>
            </a:r>
            <a:r>
              <a:rPr lang="ru-RU" altLang="ru-RU" sz="1800" b="1" dirty="0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  <a:t>Тойота</a:t>
            </a:r>
            <a:r>
              <a:rPr lang="en-US" altLang="ru-RU" sz="1800" b="1" dirty="0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  <a:t>”</a:t>
            </a:r>
            <a:r>
              <a:rPr lang="ru-RU" altLang="ru-RU" sz="1800" b="1" dirty="0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  <a:t>)</a:t>
            </a:r>
            <a:br>
              <a:rPr lang="ru-RU" altLang="ru-RU" sz="1800" b="1" dirty="0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rPr>
            </a:br>
            <a:endParaRPr lang="ru-RU" altLang="ru-RU" sz="1800" b="1" dirty="0">
              <a:solidFill>
                <a:srgbClr val="333333"/>
              </a:solidFill>
              <a:latin typeface="Arial" charset="0"/>
              <a:ea typeface="Arial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0799" y="1025533"/>
            <a:ext cx="6810375" cy="382145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644271" y="0"/>
            <a:ext cx="4997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8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95566" y="4896506"/>
            <a:ext cx="963725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Проекты </a:t>
            </a:r>
            <a:r>
              <a:rPr lang="ru-RU" sz="817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Росатом</a:t>
            </a:r>
            <a:endParaRPr lang="ru-RU" sz="817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Стрелка вниз 6"/>
          <p:cNvSpPr/>
          <p:nvPr/>
        </p:nvSpPr>
        <p:spPr>
          <a:xfrm>
            <a:off x="74470" y="4942153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84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_16x9_white_template" id="{815E4B3B-8E01-5242-B9F1-F7029D6381FB}" vid="{541B8C7B-4633-2E45-B746-A05B8E1543F8}"/>
    </a:ext>
  </a:extLst>
</a:theme>
</file>

<file path=ppt/theme/theme10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4.xml><?xml version="1.0" encoding="utf-8"?>
<a:theme xmlns:a="http://schemas.openxmlformats.org/drawingml/2006/main" name="3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4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_16x9_white_template" id="{815E4B3B-8E01-5242-B9F1-F7029D6381FB}" vid="{7389C019-FE70-D24D-871A-DAD941594136}"/>
    </a:ext>
  </a:extLst>
</a:theme>
</file>

<file path=ppt/theme/theme17.xml><?xml version="1.0" encoding="utf-8"?>
<a:theme xmlns:a="http://schemas.openxmlformats.org/drawingml/2006/main" name="1_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2" id="{00DAE905-2894-9645-87E8-4A089C61D1E7}" vid="{BB001172-481D-5B4F-A54A-4F845D4C8301}"/>
    </a:ext>
  </a:extLst>
</a:theme>
</file>

<file path=ppt/theme/theme18.xml><?xml version="1.0" encoding="utf-8"?>
<a:theme xmlns:a="http://schemas.openxmlformats.org/drawingml/2006/main" name="2_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2" id="{00DAE905-2894-9645-87E8-4A089C61D1E7}" vid="{BB001172-481D-5B4F-A54A-4F845D4C8301}"/>
    </a:ext>
  </a:extLst>
</a:theme>
</file>

<file path=ppt/theme/theme1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Перебивочный слайд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_16x9_white_template" id="{815E4B3B-8E01-5242-B9F1-F7029D6381FB}" vid="{6BE6B458-93C6-814D-A81B-47849E6A55A1}"/>
    </a:ext>
  </a:extLst>
</a:theme>
</file>

<file path=ppt/theme/theme2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_16x9_white_template" id="{815E4B3B-8E01-5242-B9F1-F7029D6381FB}" vid="{7389C019-FE70-D24D-871A-DAD941594136}"/>
    </a:ext>
  </a:extLst>
</a:theme>
</file>

<file path=ppt/theme/theme4.xml><?xml version="1.0" encoding="utf-8"?>
<a:theme xmlns:a="http://schemas.openxmlformats.org/drawingml/2006/main" name="Текст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_16x9_white_template" id="{815E4B3B-8E01-5242-B9F1-F7029D6381FB}" vid="{7389C019-FE70-D24D-871A-DAD941594136}"/>
    </a:ext>
  </a:extLst>
</a:theme>
</file>

<file path=ppt/theme/theme5.xml><?xml version="1.0" encoding="utf-8"?>
<a:theme xmlns:a="http://schemas.openxmlformats.org/drawingml/2006/main" name="Диаграммы">
  <a:themeElements>
    <a:clrScheme name="тема для слайдов с диаграммами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7F7F7F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_16x9_white_template" id="{815E4B3B-8E01-5242-B9F1-F7029D6381FB}" vid="{7389C019-FE70-D24D-871A-DAD941594136}"/>
    </a:ext>
  </a:extLst>
</a:theme>
</file>

<file path=ppt/theme/theme6.xml><?xml version="1.0" encoding="utf-8"?>
<a:theme xmlns:a="http://schemas.openxmlformats.org/drawingml/2006/main" name="Текст диаграмма">
  <a:themeElements>
    <a:clrScheme name="тема для слайдов текст-диаграмма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EBA444"/>
      </a:accent1>
      <a:accent2>
        <a:srgbClr val="F06942"/>
      </a:accent2>
      <a:accent3>
        <a:srgbClr val="AD5483"/>
      </a:accent3>
      <a:accent4>
        <a:srgbClr val="456EA9"/>
      </a:accent4>
      <a:accent5>
        <a:srgbClr val="68B0E0"/>
      </a:accent5>
      <a:accent6>
        <a:srgbClr val="259789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_16x9_white_template" id="{815E4B3B-8E01-5242-B9F1-F7029D6381FB}" vid="{7389C019-FE70-D24D-871A-DAD941594136}"/>
    </a:ext>
  </a:extLst>
</a:theme>
</file>

<file path=ppt/theme/theme7.xml><?xml version="1.0" encoding="utf-8"?>
<a:theme xmlns:a="http://schemas.openxmlformats.org/drawingml/2006/main" name="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2" id="{00DAE905-2894-9645-87E8-4A089C61D1E7}" vid="{BB001172-481D-5B4F-A54A-4F845D4C8301}"/>
    </a:ext>
  </a:extLst>
</a:theme>
</file>

<file path=ppt/theme/theme8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Yu Gothic Light"/>
      <a:font script="Hang" typeface="맑은 고딕"/>
      <a:font script="Hans" typeface="DengXian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Yu Gothic"/>
      <a:font script="Hang" typeface="맑은 고딕"/>
      <a:font script="Hans" typeface="DengXian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x9_white_template</Template>
  <TotalTime>5910</TotalTime>
  <Words>882</Words>
  <Application>Microsoft Office PowerPoint</Application>
  <PresentationFormat>Произвольный</PresentationFormat>
  <Paragraphs>310</Paragraphs>
  <Slides>19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8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39" baseType="lpstr">
      <vt:lpstr>Титульный слайд</vt:lpstr>
      <vt:lpstr>Перебивочный слайд</vt:lpstr>
      <vt:lpstr>Текст картинка</vt:lpstr>
      <vt:lpstr>Текст</vt:lpstr>
      <vt:lpstr>Диаграммы</vt:lpstr>
      <vt:lpstr>Текст диаграмма</vt:lpstr>
      <vt:lpstr>Заключительный слайд</vt:lpstr>
      <vt:lpstr>b-default</vt:lpstr>
      <vt:lpstr>Firm Format - Russian</vt:lpstr>
      <vt:lpstr>1_Firm Format - Russian</vt:lpstr>
      <vt:lpstr>1_b-default</vt:lpstr>
      <vt:lpstr>2_Firm Format - Russian</vt:lpstr>
      <vt:lpstr>4_RDM027</vt:lpstr>
      <vt:lpstr>3_Firm Format - Russian</vt:lpstr>
      <vt:lpstr>4_Firm Format - Russian</vt:lpstr>
      <vt:lpstr>1_Текст картинка</vt:lpstr>
      <vt:lpstr>1_Заключительный слайд</vt:lpstr>
      <vt:lpstr>2_Заключительный слайд</vt:lpstr>
      <vt:lpstr>think-cell Slide</vt:lpstr>
      <vt:lpstr>Точечный рисунок</vt:lpstr>
      <vt:lpstr>Программа «Эффективный регион»</vt:lpstr>
      <vt:lpstr>Программа «Эффективный регион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«Потери любой вид деятельности за который заказчик не готов платить … »   (Тайити Óно  компания “Тойота”) </vt:lpstr>
      <vt:lpstr>2007-2019 гг. ГК «Росатом» за 12 лет накоплен уникальный опыт применения бережливости в различных отраслях производства – более 10 000 проектов и более 100 000 предложений по улучшениям </vt:lpstr>
      <vt:lpstr>Бережливая поликлиника → Эффективный регион</vt:lpstr>
      <vt:lpstr>Презентация PowerPoint</vt:lpstr>
      <vt:lpstr>Презентация PowerPoint</vt:lpstr>
      <vt:lpstr>Презентация PowerPoint</vt:lpstr>
      <vt:lpstr>Презентация PowerPoint</vt:lpstr>
      <vt:lpstr>Заказ руководства Госкорпорации «Росатом»  на создание образцов</vt:lpstr>
      <vt:lpstr>Презентация PowerPoint</vt:lpstr>
      <vt:lpstr>Где мы сейчас? Над чем мы работаем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на Хомякова</dc:creator>
  <cp:lastModifiedBy>Людмила</cp:lastModifiedBy>
  <cp:revision>233</cp:revision>
  <dcterms:created xsi:type="dcterms:W3CDTF">2019-09-24T12:37:05Z</dcterms:created>
  <dcterms:modified xsi:type="dcterms:W3CDTF">2022-12-27T11:03:26Z</dcterms:modified>
</cp:coreProperties>
</file>